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theme/themeOverride1.xml" ContentType="application/vnd.openxmlformats-officedocument.themeOverride+xml"/>
  <Override PartName="/ppt/drawings/drawing3.xml" ContentType="application/vnd.openxmlformats-officedocument.drawingml.chartshapes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57" r:id="rId2"/>
    <p:sldId id="259" r:id="rId3"/>
    <p:sldId id="258" r:id="rId4"/>
    <p:sldId id="312" r:id="rId5"/>
    <p:sldId id="336" r:id="rId6"/>
    <p:sldId id="337" r:id="rId7"/>
    <p:sldId id="343" r:id="rId8"/>
    <p:sldId id="344" r:id="rId9"/>
    <p:sldId id="345" r:id="rId10"/>
    <p:sldId id="304" r:id="rId11"/>
    <p:sldId id="338" r:id="rId12"/>
    <p:sldId id="339" r:id="rId13"/>
    <p:sldId id="266" r:id="rId14"/>
    <p:sldId id="340" r:id="rId15"/>
    <p:sldId id="341" r:id="rId16"/>
    <p:sldId id="342" r:id="rId17"/>
    <p:sldId id="314" r:id="rId18"/>
    <p:sldId id="272" r:id="rId19"/>
    <p:sldId id="268" r:id="rId20"/>
    <p:sldId id="271" r:id="rId21"/>
    <p:sldId id="328" r:id="rId22"/>
    <p:sldId id="281" r:id="rId23"/>
    <p:sldId id="347" r:id="rId24"/>
    <p:sldId id="285" r:id="rId25"/>
    <p:sldId id="288" r:id="rId26"/>
    <p:sldId id="289" r:id="rId27"/>
    <p:sldId id="325" r:id="rId28"/>
    <p:sldId id="290" r:id="rId29"/>
    <p:sldId id="291" r:id="rId30"/>
    <p:sldId id="294" r:id="rId31"/>
    <p:sldId id="295" r:id="rId32"/>
    <p:sldId id="330" r:id="rId33"/>
    <p:sldId id="316" r:id="rId3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F5597"/>
    <a:srgbClr val="3A5D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35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&#1044;&#1054;&#1053;&#1080;&#1052;&#1062;%20&#1055;&#1040;_&#1074;&#1077;&#1088;&#1089;&#1080;&#1103;%2014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&#1044;&#1054;&#1053;&#1080;&#1052;&#1062;%20&#1055;&#1040;_&#1074;&#1077;&#1088;&#1089;&#1080;&#1103;%2014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.benke\Desktop\&#1044;&#1086;&#1082;&#1091;&#1084;&#1077;&#1085;&#1090;&#1099;\&#1054;&#1090;&#1095;&#1077;&#1090;&#1099;%20&#1087;&#1088;&#1077;&#1079;&#1077;&#1085;&#1090;&#1072;&#1094;&#1080;&#1080;\&#1055;&#1086;&#1089;&#1090;&#1088;&#1086;&#1077;&#1085;&#1080;&#1077;%20&#1076;&#1080;&#1072;&#1075;&#1088;&#1072;&#1084;&#1084;&#1099;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&#1044;&#1054;&#1053;&#1080;&#1052;&#1062;%20&#1055;&#1040;_&#1074;&#1077;&#1088;&#1089;&#1080;&#1103;%2014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&#1044;&#1054;&#1053;&#1080;&#1052;&#1062;%20&#1055;&#1040;_&#1074;&#1077;&#1088;&#1089;&#1080;&#1103;%2014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&#1044;&#1054;&#1053;&#1080;&#1052;&#1062;%20&#1055;&#1040;_&#1074;&#1077;&#1088;&#1089;&#1080;&#1103;%2014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&#1044;&#1054;&#1053;&#1080;&#1052;&#1062;%20&#1055;&#1040;_&#1074;&#1077;&#1088;&#1089;&#1080;&#1103;%2014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&#1044;&#1054;&#1053;&#1080;&#1052;&#1062;%20&#1055;&#1040;_&#1074;&#1077;&#1088;&#1089;&#1080;&#1103;%2014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&#1044;&#1054;&#1053;&#1080;&#1052;&#1062;%20&#1055;&#1040;_&#1074;&#1077;&#1088;&#1089;&#1080;&#1103;%2014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pnhzv01\dbase\&#1044;&#1054;&#1053;&#1080;&#1052;&#1062;\008%20&#1054;&#1076;&#1085;&#1086;&#1089;&#1090;&#1088;&#1072;&#1085;&#1080;&#1095;&#1085;&#1080;&#1082;%20&#1044;&#1054;&#1053;&#1080;&#1052;&#1062;%20&#1055;&#1040;\&#1054;&#1076;&#1085;&#1086;&#1089;&#1090;&#1088;&#1072;&#1085;&#1080;&#1095;&#1085;&#1080;&#1082;%20&#1044;&#1054;&#1053;&#1080;&#1052;&#1062;%20&#1055;&#1040;_&#1074;&#1077;&#1088;&#1089;&#1080;&#1103;%2014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8.0554896885420682E-2"/>
          <c:w val="0.95460476838185182"/>
          <c:h val="0.8303339429947252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ремонтов по видам динамического оборудования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c:spPr>
          <c:dPt>
            <c:idx val="0"/>
            <c:bubble3D val="0"/>
            <c:spPr>
              <a:solidFill>
                <a:srgbClr val="00FF00"/>
              </a:solidFill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06F-40CE-B146-729CE5668C63}"/>
              </c:ext>
            </c:extLst>
          </c:dPt>
          <c:dPt>
            <c:idx val="1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06F-40CE-B146-729CE5668C63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64939D70-3476-4221-AB7D-0CFC415A4A0D}" type="VALUE">
                      <a:rPr lang="en-US" baseline="0" smtClean="0"/>
                      <a:pPr/>
                      <a:t>[ЗНАЧЕНИЕ]</a:t>
                    </a:fld>
                    <a:r>
                      <a:rPr lang="en-US" baseline="0" dirty="0" smtClean="0"/>
                      <a:t> 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06F-40CE-B146-729CE5668C63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66</a:t>
                    </a:r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06F-40CE-B146-729CE5668C6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 smtClean="0"/>
                      <a:t>69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06F-40CE-B146-729CE5668C6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 smtClean="0"/>
                      <a:t>106</a:t>
                    </a:r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06F-40CE-B146-729CE5668C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омпрессоры</c:v>
                </c:pt>
                <c:pt idx="1">
                  <c:v>Насос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</c:v>
                </c:pt>
                <c:pt idx="1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06F-40CE-B146-729CE5668C6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609034101577465"/>
          <c:y val="0.92889237618489906"/>
          <c:w val="0.66234931404349739"/>
          <c:h val="6.66903511550126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b="1" dirty="0" smtClean="0">
                <a:solidFill>
                  <a:srgbClr val="002060"/>
                </a:solidFill>
              </a:rPr>
              <a:t>СОБЛЮДЕНИЕ ПЛАНОВОЙ ДЛИТЕЛЬНОСТИ</a:t>
            </a:r>
            <a:r>
              <a:rPr lang="ru-RU" b="1" baseline="0" dirty="0" smtClean="0">
                <a:solidFill>
                  <a:srgbClr val="002060"/>
                </a:solidFill>
              </a:rPr>
              <a:t> ЭТАПОВ ПРОЕКТА</a:t>
            </a:r>
            <a:endParaRPr lang="ru-RU" b="1" dirty="0">
              <a:solidFill>
                <a:srgbClr val="002060"/>
              </a:solidFill>
            </a:endParaRPr>
          </a:p>
        </c:rich>
      </c:tx>
      <c:layout>
        <c:manualLayout>
          <c:xMode val="edge"/>
          <c:yMode val="edge"/>
          <c:x val="0.15950118048568068"/>
          <c:y val="3.25207683428184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52634496202234748"/>
          <c:y val="0.21098003398253934"/>
          <c:w val="0.42530874077700676"/>
          <c:h val="0.6249656228518499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10. Работы по замене компр.'!$D$5</c:f>
              <c:strCache>
                <c:ptCount val="1"/>
                <c:pt idx="0">
                  <c:v>Факт, мес.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44D-4927-B300-355C26722D0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0. Работы по замене компр.'!$C$6:$C$9</c:f>
              <c:strCache>
                <c:ptCount val="4"/>
                <c:pt idx="0">
                  <c:v>Сбор исходных данных</c:v>
                </c:pt>
                <c:pt idx="1">
                  <c:v>Изыскания и обследования</c:v>
                </c:pt>
                <c:pt idx="2">
                  <c:v>Разработка документации</c:v>
                </c:pt>
                <c:pt idx="3">
                  <c:v>Техническое сопровождение</c:v>
                </c:pt>
              </c:strCache>
            </c:strRef>
          </c:cat>
          <c:val>
            <c:numRef>
              <c:f>'10. Работы по замене компр.'!$D$6:$D$9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44D-4927-B300-355C26722D00}"/>
            </c:ext>
          </c:extLst>
        </c:ser>
        <c:ser>
          <c:idx val="1"/>
          <c:order val="1"/>
          <c:tx>
            <c:strRef>
              <c:f>'10. Работы по замене компр.'!$H$5</c:f>
              <c:strCache>
                <c:ptCount val="1"/>
                <c:pt idx="0">
                  <c:v>План, мес.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 w="22225">
              <a:solidFill>
                <a:schemeClr val="accent2">
                  <a:lumMod val="75000"/>
                  <a:alpha val="79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0. Работы по замене компр.'!$C$6:$C$9</c:f>
              <c:strCache>
                <c:ptCount val="4"/>
                <c:pt idx="0">
                  <c:v>Сбор исходных данных</c:v>
                </c:pt>
                <c:pt idx="1">
                  <c:v>Изыскания и обследования</c:v>
                </c:pt>
                <c:pt idx="2">
                  <c:v>Разработка документации</c:v>
                </c:pt>
                <c:pt idx="3">
                  <c:v>Техническое сопровождение</c:v>
                </c:pt>
              </c:strCache>
            </c:strRef>
          </c:cat>
          <c:val>
            <c:numRef>
              <c:f>'10. Работы по замене компр.'!$H$6:$H$9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44D-4927-B300-355C26722D0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98"/>
        <c:axId val="1970726111"/>
        <c:axId val="1970709407"/>
      </c:barChart>
      <c:catAx>
        <c:axId val="19707261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970709407"/>
        <c:crosses val="autoZero"/>
        <c:auto val="1"/>
        <c:lblAlgn val="ctr"/>
        <c:lblOffset val="100"/>
        <c:noMultiLvlLbl val="0"/>
      </c:catAx>
      <c:valAx>
        <c:axId val="1970709407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9707261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7913379080924763"/>
          <c:y val="0.37832922483853121"/>
          <c:w val="0.31578500860901693"/>
          <c:h val="6.8177154860191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10. Работы по замене компр.'!$C$1</c:f>
          <c:strCache>
            <c:ptCount val="1"/>
            <c:pt idx="0">
              <c:v>Проект по замене поршневых компрессоров</c:v>
            </c:pt>
          </c:strCache>
        </c:strRef>
      </c:tx>
      <c:layout>
        <c:manualLayout>
          <c:xMode val="edge"/>
          <c:yMode val="edge"/>
          <c:x val="0.16239838149399441"/>
          <c:y val="6.14795994805746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3.4104220426049561E-2"/>
          <c:y val="0.26214901690766601"/>
          <c:w val="0.94640765361620782"/>
          <c:h val="0.473721888023553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10. Работы по замене компр.'!$E$5</c:f>
              <c:strCache>
                <c:ptCount val="1"/>
                <c:pt idx="0">
                  <c:v>Прогресс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FB0-4D1F-9317-C3351F1009CE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FB0-4D1F-9317-C3351F1009CE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FB0-4D1F-9317-C3351F1009CE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FB0-4D1F-9317-C3351F1009C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B0-4D1F-9317-C3351F1009C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0. Работы по замене компр.'!$C$6:$C$10</c:f>
              <c:strCache>
                <c:ptCount val="5"/>
                <c:pt idx="0">
                  <c:v>Сбор исходных данных</c:v>
                </c:pt>
                <c:pt idx="1">
                  <c:v>Изыскания и обследования</c:v>
                </c:pt>
                <c:pt idx="2">
                  <c:v>Разработка документации</c:v>
                </c:pt>
                <c:pt idx="3">
                  <c:v>Техническое сопровождение</c:v>
                </c:pt>
                <c:pt idx="4">
                  <c:v>Общий прогресс</c:v>
                </c:pt>
              </c:strCache>
            </c:strRef>
          </c:cat>
          <c:val>
            <c:numRef>
              <c:f>'10. Работы по замене компр.'!$E$6:$E$10</c:f>
              <c:numCache>
                <c:formatCode>0%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FB0-4D1F-9317-C3351F1009CE}"/>
            </c:ext>
          </c:extLst>
        </c:ser>
        <c:ser>
          <c:idx val="1"/>
          <c:order val="1"/>
          <c:tx>
            <c:strRef>
              <c:f>'10. Работы по замене компр.'!$G$5</c:f>
              <c:strCache>
                <c:ptCount val="1"/>
                <c:pt idx="0">
                  <c:v>План</c:v>
                </c:pt>
              </c:strCache>
            </c:strRef>
          </c:tx>
          <c:spPr>
            <a:noFill/>
            <a:ln w="28575">
              <a:solidFill>
                <a:schemeClr val="accent6">
                  <a:alpha val="66000"/>
                </a:schemeClr>
              </a:solidFill>
            </a:ln>
            <a:effectLst/>
          </c:spPr>
          <c:invertIfNegative val="0"/>
          <c:dLbls>
            <c:delete val="1"/>
          </c:dLbls>
          <c:cat>
            <c:strRef>
              <c:f>'10. Работы по замене компр.'!$C$6:$C$10</c:f>
              <c:strCache>
                <c:ptCount val="5"/>
                <c:pt idx="0">
                  <c:v>Сбор исходных данных</c:v>
                </c:pt>
                <c:pt idx="1">
                  <c:v>Изыскания и обследования</c:v>
                </c:pt>
                <c:pt idx="2">
                  <c:v>Разработка документации</c:v>
                </c:pt>
                <c:pt idx="3">
                  <c:v>Техническое сопровождение</c:v>
                </c:pt>
                <c:pt idx="4">
                  <c:v>Общий прогресс</c:v>
                </c:pt>
              </c:strCache>
            </c:strRef>
          </c:cat>
          <c:val>
            <c:numRef>
              <c:f>'10. Работы по замене компр.'!$G$6:$G$10</c:f>
              <c:numCache>
                <c:formatCode>0%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FB0-4D1F-9317-C3351F1009C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6474096"/>
        <c:axId val="106480128"/>
      </c:barChart>
      <c:catAx>
        <c:axId val="10647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06480128"/>
        <c:crosses val="autoZero"/>
        <c:auto val="1"/>
        <c:lblAlgn val="ctr"/>
        <c:lblOffset val="100"/>
        <c:noMultiLvlLbl val="0"/>
      </c:catAx>
      <c:valAx>
        <c:axId val="106480128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106474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467601616078863"/>
          <c:y val="0.9403134201571226"/>
          <c:w val="0.31064796767842279"/>
          <c:h val="5.96865798428773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900"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8864848350183309E-2"/>
          <c:y val="0.10654458995402469"/>
          <c:w val="0.77416732702321578"/>
          <c:h val="0.7353233852389446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1 г.</c:v>
                </c:pt>
              </c:strCache>
            </c:strRef>
          </c:tx>
          <c:spPr>
            <a:gradFill flip="none" rotWithShape="1">
              <a:gsLst>
                <a:gs pos="0">
                  <a:srgbClr val="667FAB">
                    <a:shade val="30000"/>
                    <a:satMod val="115000"/>
                  </a:srgbClr>
                </a:gs>
                <a:gs pos="50000">
                  <a:srgbClr val="667FAB">
                    <a:shade val="67500"/>
                    <a:satMod val="115000"/>
                  </a:srgbClr>
                </a:gs>
                <a:gs pos="100000">
                  <a:srgbClr val="667FAB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</c:spPr>
          <c:invertIfNegative val="0"/>
          <c:cat>
            <c:strRef>
              <c:f>Лист1!$A$2:$A$5</c:f>
              <c:strCache>
                <c:ptCount val="4"/>
                <c:pt idx="0">
                  <c:v>Топливо</c:v>
                </c:pt>
                <c:pt idx="1">
                  <c:v>ТЭ </c:v>
                </c:pt>
                <c:pt idx="2">
                  <c:v>ЭЭ</c:v>
                </c:pt>
                <c:pt idx="3">
                  <c:v>Всего ТЭР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62931</c:v>
                </c:pt>
                <c:pt idx="1">
                  <c:v>124376</c:v>
                </c:pt>
                <c:pt idx="2">
                  <c:v>30137</c:v>
                </c:pt>
                <c:pt idx="3">
                  <c:v>1545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13-4589-9047-0DEE097EA11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 г.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Топливо</c:v>
                </c:pt>
                <c:pt idx="1">
                  <c:v>ТЭ </c:v>
                </c:pt>
                <c:pt idx="2">
                  <c:v>ЭЭ</c:v>
                </c:pt>
                <c:pt idx="3">
                  <c:v>Всего ТЭР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52676</c:v>
                </c:pt>
                <c:pt idx="1">
                  <c:v>122809</c:v>
                </c:pt>
                <c:pt idx="2">
                  <c:v>30414</c:v>
                </c:pt>
                <c:pt idx="3">
                  <c:v>153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13-4589-9047-0DEE097EA1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85378560"/>
        <c:axId val="85380096"/>
        <c:axId val="0"/>
      </c:bar3DChart>
      <c:catAx>
        <c:axId val="853785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85380096"/>
        <c:crosses val="autoZero"/>
        <c:auto val="1"/>
        <c:lblAlgn val="ctr"/>
        <c:lblOffset val="100"/>
        <c:noMultiLvlLbl val="0"/>
      </c:catAx>
      <c:valAx>
        <c:axId val="85380096"/>
        <c:scaling>
          <c:orientation val="minMax"/>
          <c:max val="300000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Энергоресурсы, Тут</a:t>
                </a:r>
              </a:p>
            </c:rich>
          </c:tx>
          <c:layout>
            <c:manualLayout>
              <c:xMode val="edge"/>
              <c:yMode val="edge"/>
              <c:x val="2.2091035347985139E-2"/>
              <c:y val="0.1427660458478604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853785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3584837795800471"/>
          <c:y val="0.19391879907017559"/>
          <c:w val="0.1598011332074214"/>
          <c:h val="0.5137726922307777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100">
          <a:latin typeface="Century Gothic" panose="020B0502020202020204" pitchFamily="34" charset="0"/>
          <a:cs typeface="Arial" panose="020B0604020202020204" pitchFamily="34" charset="0"/>
        </a:defRPr>
      </a:pPr>
      <a:endParaRPr lang="ru-RU"/>
    </a:p>
  </c:txPr>
  <c:externalData r:id="rId2">
    <c:autoUpdate val="0"/>
  </c:externalData>
  <c:userShapes r:id="rId3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39422979748048"/>
          <c:y val="5.1031597583738632E-2"/>
          <c:w val="0.91740600150681439"/>
          <c:h val="0.76957435966898213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Лист1!$D$8</c:f>
              <c:strCache>
                <c:ptCount val="1"/>
                <c:pt idx="0">
                  <c:v>202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dLbl>
              <c:idx val="2"/>
              <c:layout>
                <c:manualLayout>
                  <c:x val="1.5110637829541296E-2"/>
                  <c:y val="-4.38835337923943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57F-4145-9FEB-90E12B60F502}"/>
                </c:ext>
              </c:extLst>
            </c:dLbl>
            <c:dLbl>
              <c:idx val="6"/>
              <c:layout>
                <c:manualLayout>
                  <c:x val="9.7139814618479765E-3"/>
                  <c:y val="-4.09579648729013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57F-4145-9FEB-90E12B60F5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9:$B$16</c:f>
              <c:strCache>
                <c:ptCount val="8"/>
                <c:pt idx="0">
                  <c:v>ТОО "Тотал Сервис"</c:v>
                </c:pt>
                <c:pt idx="1">
                  <c:v>ТОО НПО "Дефектоскопия"</c:v>
                </c:pt>
                <c:pt idx="2">
                  <c:v>ТОО "МегаСтройПлюс"</c:v>
                </c:pt>
                <c:pt idx="3">
                  <c:v>ТОО "Главстрой"</c:v>
                </c:pt>
                <c:pt idx="4">
                  <c:v>ТОО "МегаСтройПлюс"</c:v>
                </c:pt>
                <c:pt idx="5">
                  <c:v>ТОО "Гарант Снаб Трейд"</c:v>
                </c:pt>
                <c:pt idx="6">
                  <c:v>ТОО "Главстрой"</c:v>
                </c:pt>
                <c:pt idx="7">
                  <c:v>ТОО "АЙС-ИНВЕСТСТРОЙ"</c:v>
                </c:pt>
              </c:strCache>
            </c:strRef>
          </c:cat>
          <c:val>
            <c:numRef>
              <c:f>Лист1!$D$9:$D$16</c:f>
              <c:numCache>
                <c:formatCode>General</c:formatCode>
                <c:ptCount val="8"/>
                <c:pt idx="2" formatCode="#,##0">
                  <c:v>233360</c:v>
                </c:pt>
                <c:pt idx="6" formatCode="#,##0">
                  <c:v>6709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7F-4145-9FEB-90E12B60F502}"/>
            </c:ext>
          </c:extLst>
        </c:ser>
        <c:ser>
          <c:idx val="1"/>
          <c:order val="1"/>
          <c:tx>
            <c:strRef>
              <c:f>Лист1!$C$8</c:f>
              <c:strCache>
                <c:ptCount val="1"/>
                <c:pt idx="0">
                  <c:v>2022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dLbl>
              <c:idx val="0"/>
              <c:layout>
                <c:manualLayout>
                  <c:x val="3.2379938206159725E-3"/>
                  <c:y val="-4.68091027118872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D57F-4145-9FEB-90E12B60F502}"/>
                </c:ext>
              </c:extLst>
            </c:dLbl>
            <c:dLbl>
              <c:idx val="1"/>
              <c:layout>
                <c:manualLayout>
                  <c:x val="8.6346501883093132E-3"/>
                  <c:y val="-4.09579648729014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D57F-4145-9FEB-90E12B60F502}"/>
                </c:ext>
              </c:extLst>
            </c:dLbl>
            <c:dLbl>
              <c:idx val="3"/>
              <c:layout>
                <c:manualLayout>
                  <c:x val="1.7269300376618626E-2"/>
                  <c:y val="-4.09579648729013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D57F-4145-9FEB-90E12B60F502}"/>
                </c:ext>
              </c:extLst>
            </c:dLbl>
            <c:dLbl>
              <c:idx val="4"/>
              <c:layout>
                <c:manualLayout>
                  <c:x val="6.4759876412319841E-3"/>
                  <c:y val="-4.97346716313801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D57F-4145-9FEB-90E12B60F502}"/>
                </c:ext>
              </c:extLst>
            </c:dLbl>
            <c:dLbl>
              <c:idx val="5"/>
              <c:layout>
                <c:manualLayout>
                  <c:x val="1.618996910307996E-2"/>
                  <c:y val="-4.38835337923942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D57F-4145-9FEB-90E12B60F502}"/>
                </c:ext>
              </c:extLst>
            </c:dLbl>
            <c:dLbl>
              <c:idx val="7"/>
              <c:layout>
                <c:manualLayout>
                  <c:x val="1.0793312735386482E-2"/>
                  <c:y val="-4.38835337923942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D57F-4145-9FEB-90E12B60F5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9:$B$16</c:f>
              <c:strCache>
                <c:ptCount val="8"/>
                <c:pt idx="0">
                  <c:v>ТОО "Тотал Сервис"</c:v>
                </c:pt>
                <c:pt idx="1">
                  <c:v>ТОО НПО "Дефектоскопия"</c:v>
                </c:pt>
                <c:pt idx="2">
                  <c:v>ТОО "МегаСтройПлюс"</c:v>
                </c:pt>
                <c:pt idx="3">
                  <c:v>ТОО "Главстрой"</c:v>
                </c:pt>
                <c:pt idx="4">
                  <c:v>ТОО "МегаСтройПлюс"</c:v>
                </c:pt>
                <c:pt idx="5">
                  <c:v>ТОО "Гарант Снаб Трейд"</c:v>
                </c:pt>
                <c:pt idx="6">
                  <c:v>ТОО "Главстрой"</c:v>
                </c:pt>
                <c:pt idx="7">
                  <c:v>ТОО "АЙС-ИНВЕСТСТРОЙ"</c:v>
                </c:pt>
              </c:strCache>
            </c:strRef>
          </c:cat>
          <c:val>
            <c:numRef>
              <c:f>Лист1!$C$9:$C$16</c:f>
              <c:numCache>
                <c:formatCode>#,##0</c:formatCode>
                <c:ptCount val="8"/>
                <c:pt idx="0">
                  <c:v>159000</c:v>
                </c:pt>
                <c:pt idx="1">
                  <c:v>190800</c:v>
                </c:pt>
                <c:pt idx="3">
                  <c:v>318000</c:v>
                </c:pt>
                <c:pt idx="4">
                  <c:v>572400</c:v>
                </c:pt>
                <c:pt idx="5">
                  <c:v>636600</c:v>
                </c:pt>
                <c:pt idx="7">
                  <c:v>1049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57F-4145-9FEB-90E12B60F50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95358504"/>
        <c:axId val="195360472"/>
        <c:axId val="193940184"/>
      </c:bar3DChart>
      <c:catAx>
        <c:axId val="195358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95360472"/>
        <c:crosses val="autoZero"/>
        <c:auto val="1"/>
        <c:lblAlgn val="ctr"/>
        <c:lblOffset val="100"/>
        <c:noMultiLvlLbl val="0"/>
      </c:catAx>
      <c:valAx>
        <c:axId val="1953604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95358504"/>
        <c:crosses val="autoZero"/>
        <c:crossBetween val="between"/>
      </c:valAx>
      <c:serAx>
        <c:axId val="193940184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95360472"/>
        <c:crosses val="autoZero"/>
      </c:ser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971335732458048"/>
          <c:y val="0.88879785484649643"/>
          <c:w val="0.16522360340330047"/>
          <c:h val="5.8437484679552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0919971928093"/>
          <c:y val="0.23414969364227856"/>
          <c:w val="0.73059082110328766"/>
          <c:h val="0.3404415238586092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женщин</c:v>
                </c:pt>
              </c:strCache>
            </c:strRef>
          </c:tx>
          <c:spPr>
            <a:solidFill>
              <a:srgbClr val="2F5597"/>
            </a:solidFill>
            <a:ln w="9382" cap="flat" cmpd="sng" algn="ctr">
              <a:noFill/>
              <a:round/>
            </a:ln>
            <a:effectLst/>
          </c:spPr>
          <c:invertIfNegative val="0"/>
          <c:dLbls>
            <c:spPr>
              <a:noFill/>
              <a:ln w="25070">
                <a:noFill/>
              </a:ln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  <c:pt idx="0">
                  <c:v>1330</c:v>
                </c:pt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2F-4304-8726-61DA1CF657C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ужчин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9382" cap="flat" cmpd="sng" algn="ctr">
              <a:noFill/>
              <a:round/>
            </a:ln>
            <a:effectLst/>
          </c:spPr>
          <c:invertIfNegative val="0"/>
          <c:dLbls>
            <c:spPr>
              <a:noFill/>
              <a:ln w="25070">
                <a:noFill/>
              </a:ln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  <c:pt idx="0">
                  <c:v>1330</c:v>
                </c:pt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2F-4304-8726-61DA1CF657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0110528"/>
        <c:axId val="1"/>
      </c:barChart>
      <c:catAx>
        <c:axId val="1001105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38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b"/>
        <c:majorGridlines>
          <c:spPr>
            <a:ln w="9382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ln w="6266">
            <a:noFill/>
          </a:ln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100110528"/>
        <c:crosses val="autoZero"/>
        <c:crossBetween val="between"/>
      </c:valAx>
      <c:spPr>
        <a:noFill/>
        <a:ln w="25333">
          <a:noFill/>
        </a:ln>
      </c:spPr>
    </c:plotArea>
    <c:legend>
      <c:legendPos val="b"/>
      <c:layout>
        <c:manualLayout>
          <c:xMode val="edge"/>
          <c:yMode val="edge"/>
          <c:x val="0.28099716721758894"/>
          <c:y val="0.80530886264795698"/>
          <c:w val="0.5718423345955409"/>
          <c:h val="8.4424298936317199E-2"/>
        </c:manualLayout>
      </c:layout>
      <c:overlay val="0"/>
      <c:spPr>
        <a:noFill/>
        <a:ln w="25070">
          <a:noFill/>
        </a:ln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>
          <a:latin typeface="Century Gothic" panose="020B0502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sz="1000">
                <a:solidFill>
                  <a:srgbClr val="002060"/>
                </a:solidFill>
              </a:defRPr>
            </a:pPr>
            <a:r>
              <a:rPr lang="ru-RU" sz="1000" dirty="0" smtClean="0">
                <a:solidFill>
                  <a:srgbClr val="002060"/>
                </a:solidFill>
              </a:rPr>
              <a:t>ПОКАЗАТЕЛЬ ТЕКУЧЕСТИ КАДРОВ</a:t>
            </a:r>
            <a:endParaRPr lang="ru-RU" sz="1000" dirty="0">
              <a:solidFill>
                <a:srgbClr val="002060"/>
              </a:solidFill>
            </a:endParaRPr>
          </a:p>
        </c:rich>
      </c:tx>
      <c:layout/>
      <c:overlay val="0"/>
      <c:spPr>
        <a:noFill/>
        <a:ln w="25061">
          <a:noFill/>
        </a:ln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казатель текучести кадров</c:v>
                </c:pt>
              </c:strCache>
            </c:strRef>
          </c:tx>
          <c:spPr>
            <a:ln w="28102" cap="rnd">
              <a:solidFill>
                <a:schemeClr val="accent1"/>
              </a:solidFill>
              <a:round/>
            </a:ln>
            <a:effectLst/>
          </c:spPr>
          <c:dLbls>
            <c:dLbl>
              <c:idx val="0"/>
              <c:layout>
                <c:manualLayout>
                  <c:x val="-0.11313756651978135"/>
                  <c:y val="6.71460960855932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98C-4403-90D6-09E7E108CA7B}"/>
                </c:ext>
              </c:extLst>
            </c:dLbl>
            <c:dLbl>
              <c:idx val="1"/>
              <c:layout>
                <c:manualLayout>
                  <c:x val="-7.8354286376467061E-2"/>
                  <c:y val="-8.78562588591277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98C-4403-90D6-09E7E108CA7B}"/>
                </c:ext>
              </c:extLst>
            </c:dLbl>
            <c:spPr>
              <a:noFill/>
              <a:ln w="25061">
                <a:noFill/>
              </a:ln>
            </c:spPr>
            <c:txPr>
              <a:bodyPr rot="0" vert="horz"/>
              <a:lstStyle/>
              <a:p>
                <a:pPr algn="r"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</c:v>
                </c:pt>
                <c:pt idx="1">
                  <c:v>2021</c:v>
                </c:pt>
                <c:pt idx="2">
                  <c:v>6 мес.2022 г.</c:v>
                </c:pt>
              </c:strCache>
            </c:strRef>
          </c:cat>
          <c:val>
            <c:numRef>
              <c:f>Лист1!$B$2:$B$4</c:f>
              <c:numCache>
                <c:formatCode>0.0%</c:formatCode>
                <c:ptCount val="3"/>
                <c:pt idx="0">
                  <c:v>5.7000000000000002E-2</c:v>
                </c:pt>
                <c:pt idx="1">
                  <c:v>0.06</c:v>
                </c:pt>
                <c:pt idx="2">
                  <c:v>2.8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98C-4403-90D6-09E7E108CA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89434064"/>
        <c:axId val="1"/>
      </c:lineChart>
      <c:catAx>
        <c:axId val="1489434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368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1"/>
        <c:axPos val="l"/>
        <c:majorGridlines>
          <c:spPr>
            <a:ln w="9368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out"/>
        <c:minorTickMark val="none"/>
        <c:tickLblPos val="nextTo"/>
        <c:crossAx val="1489434064"/>
        <c:crosses val="autoZero"/>
        <c:crossBetween val="between"/>
      </c:valAx>
      <c:spPr>
        <a:noFill/>
        <a:ln w="25351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entury Gothic" panose="020B0502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50497750051055E-2"/>
          <c:y val="3.4579772877893857E-2"/>
          <c:w val="0.9038606578315026"/>
          <c:h val="0.664570061566560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обученных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44</c:v>
                </c:pt>
                <c:pt idx="1">
                  <c:v>35</c:v>
                </c:pt>
                <c:pt idx="2">
                  <c:v>30</c:v>
                </c:pt>
                <c:pt idx="3">
                  <c:v>18</c:v>
                </c:pt>
                <c:pt idx="4">
                  <c:v>30</c:v>
                </c:pt>
                <c:pt idx="5">
                  <c:v>23</c:v>
                </c:pt>
                <c:pt idx="6">
                  <c:v>27</c:v>
                </c:pt>
                <c:pt idx="7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87-4AAD-AD00-02C3EA8F4EE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принятых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28</c:v>
                </c:pt>
                <c:pt idx="1">
                  <c:v>28</c:v>
                </c:pt>
                <c:pt idx="2">
                  <c:v>27</c:v>
                </c:pt>
                <c:pt idx="3">
                  <c:v>18</c:v>
                </c:pt>
                <c:pt idx="4">
                  <c:v>25</c:v>
                </c:pt>
                <c:pt idx="5">
                  <c:v>17</c:v>
                </c:pt>
                <c:pt idx="6">
                  <c:v>15</c:v>
                </c:pt>
                <c:pt idx="7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87-4AAD-AD00-02C3EA8F4E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13114640"/>
        <c:axId val="313120872"/>
      </c:barChart>
      <c:catAx>
        <c:axId val="313114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3120872"/>
        <c:crosses val="autoZero"/>
        <c:auto val="1"/>
        <c:lblAlgn val="ctr"/>
        <c:lblOffset val="100"/>
        <c:noMultiLvlLbl val="0"/>
      </c:catAx>
      <c:valAx>
        <c:axId val="313120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3114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048669933969933"/>
          <c:y val="0.85469441936420698"/>
          <c:w val="0.51532801084222934"/>
          <c:h val="0.145305580635792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b="1">
                <a:solidFill>
                  <a:srgbClr val="002060"/>
                </a:solidFill>
              </a:rPr>
              <a:t>Нарушения по структурным подразделениям</a:t>
            </a:r>
          </a:p>
          <a:p>
            <a:pPr>
              <a:defRPr b="1">
                <a:solidFill>
                  <a:srgbClr val="002060"/>
                </a:solidFill>
              </a:defRPr>
            </a:pPr>
            <a:r>
              <a:rPr lang="ru-RU" b="1">
                <a:solidFill>
                  <a:srgbClr val="002060"/>
                </a:solidFill>
              </a:rPr>
              <a:t> за 6 мес. 2021-2022 гг.</a:t>
            </a:r>
          </a:p>
        </c:rich>
      </c:tx>
      <c:layout>
        <c:manualLayout>
          <c:xMode val="edge"/>
          <c:yMode val="edge"/>
          <c:x val="0.11224770052653363"/>
          <c:y val="2.24551802800736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8.7679416357331202E-2"/>
          <c:y val="0.2549758895495956"/>
          <c:w val="0.91232058364266877"/>
          <c:h val="0.529065197709009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ПППН</c:v>
                </c:pt>
                <c:pt idx="1">
                  <c:v>ПКОН</c:v>
                </c:pt>
                <c:pt idx="2">
                  <c:v>ЦА</c:v>
                </c:pt>
                <c:pt idx="3">
                  <c:v>ЗУ</c:v>
                </c:pt>
                <c:pt idx="4">
                  <c:v>ПСН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34-48C5-B8BA-F8247DC1596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ПППН</c:v>
                </c:pt>
                <c:pt idx="1">
                  <c:v>ПКОН</c:v>
                </c:pt>
                <c:pt idx="2">
                  <c:v>ЦА</c:v>
                </c:pt>
                <c:pt idx="3">
                  <c:v>ЗУ</c:v>
                </c:pt>
                <c:pt idx="4">
                  <c:v>ПСН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0</c:v>
                </c:pt>
                <c:pt idx="1">
                  <c:v>2</c:v>
                </c:pt>
                <c:pt idx="2">
                  <c:v>5</c:v>
                </c:pt>
                <c:pt idx="3">
                  <c:v>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34-48C5-B8BA-F8247DC159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7503104"/>
        <c:axId val="77513088"/>
      </c:barChart>
      <c:catAx>
        <c:axId val="77503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77513088"/>
        <c:crosses val="autoZero"/>
        <c:auto val="1"/>
        <c:lblAlgn val="ctr"/>
        <c:lblOffset val="100"/>
        <c:noMultiLvlLbl val="0"/>
      </c:catAx>
      <c:valAx>
        <c:axId val="77513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77503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536646981627297"/>
          <c:y val="0.16807472974189225"/>
          <c:w val="0.60285744750656167"/>
          <c:h val="0.465567317917056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группа компаний КМГ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оциальная стабильность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B5-445E-9153-404C301E0C2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НХЗ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оциальная стабильность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B5-445E-9153-404C301E0C2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Социальная стабильность</c:v>
                </c:pt>
              </c:strCache>
            </c:strRef>
          </c:cat>
          <c:val>
            <c:numRef>
              <c:f>Лист1!$D$2</c:f>
            </c:numRef>
          </c:val>
          <c:extLst>
            <c:ext xmlns:c16="http://schemas.microsoft.com/office/drawing/2014/chart" uri="{C3380CC4-5D6E-409C-BE32-E72D297353CC}">
              <c16:uniqueId val="{00000002-E0B5-445E-9153-404C301E0C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9255808"/>
        <c:axId val="99257344"/>
      </c:barChart>
      <c:catAx>
        <c:axId val="992558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99257344"/>
        <c:crosses val="autoZero"/>
        <c:auto val="1"/>
        <c:lblAlgn val="ctr"/>
        <c:lblOffset val="100"/>
        <c:noMultiLvlLbl val="0"/>
      </c:catAx>
      <c:valAx>
        <c:axId val="9925734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992558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1859203144095096"/>
          <c:y val="0.1845153170115601"/>
          <c:w val="0.28140796855904898"/>
          <c:h val="0.5246935282044684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Century Gothic" panose="020B0502020202020204" pitchFamily="34" charset="0"/>
        </a:defRPr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оциальная стабильность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1E-4B40-AE64-401CAD013E5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оциальная стабильность</c:v>
                </c:pt>
              </c:strCache>
            </c:strRef>
          </c:cat>
          <c:val>
            <c:numRef>
              <c:f>Лист1!$C$2</c:f>
              <c:numCache>
                <c:formatCode>0%</c:formatCode>
                <c:ptCount val="1"/>
                <c:pt idx="0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1E-4B40-AE64-401CAD013E5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 (6 мес.)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оциальная стабильность</c:v>
                </c:pt>
              </c:strCache>
            </c:strRef>
          </c:cat>
          <c:val>
            <c:numRef>
              <c:f>Лист1!$D$2</c:f>
              <c:numCache>
                <c:formatCode>0%</c:formatCode>
                <c:ptCount val="1"/>
                <c:pt idx="0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1E-4B40-AE64-401CAD013E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9321344"/>
        <c:axId val="99322880"/>
      </c:barChart>
      <c:catAx>
        <c:axId val="993213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99322880"/>
        <c:crosses val="autoZero"/>
        <c:auto val="1"/>
        <c:lblAlgn val="ctr"/>
        <c:lblOffset val="100"/>
        <c:noMultiLvlLbl val="0"/>
      </c:catAx>
      <c:valAx>
        <c:axId val="9932288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9932134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Century Gothic" panose="020B0502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5"/>
    </mc:Choice>
    <mc:Fallback>
      <c:style val="15"/>
    </mc:Fallback>
  </mc:AlternateContent>
  <c:chart>
    <c:autoTitleDeleted val="1"/>
    <c:view3D>
      <c:rotX val="10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32804022689562545"/>
          <c:y val="0"/>
          <c:w val="0.66541989846980432"/>
          <c:h val="1"/>
        </c:manualLayout>
      </c:layout>
      <c:bar3D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FF00"/>
            </a:solidFill>
          </c:spPr>
          <c:invertIfNegative val="0"/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1B74-468C-A1D8-5E2B07384DF1}"/>
                </c:ext>
              </c:extLst>
            </c:dLbl>
            <c:dLbl>
              <c:idx val="4"/>
              <c:layout>
                <c:manualLayout>
                  <c:x val="5.85125116655211E-2"/>
                  <c:y val="1.067602375111172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B74-468C-A1D8-5E2B07384DF1}"/>
                </c:ext>
              </c:extLst>
            </c:dLbl>
            <c:dLbl>
              <c:idx val="5"/>
              <c:layout>
                <c:manualLayout>
                  <c:x val="-2.7771606309708952E-3"/>
                  <c:y val="1.0601310403300801E-16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B74-468C-A1D8-5E2B07384D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rgbClr val="002060"/>
                    </a:solidFill>
                    <a:latin typeface="Century Gothic" panose="020B0502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ПППН</c:v>
                </c:pt>
                <c:pt idx="1">
                  <c:v>ПГПН</c:v>
                </c:pt>
                <c:pt idx="2">
                  <c:v>ППТНО</c:v>
                </c:pt>
                <c:pt idx="3">
                  <c:v>ПСиОЗХ</c:v>
                </c:pt>
                <c:pt idx="4">
                  <c:v>ПСН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3</c:v>
                </c:pt>
                <c:pt idx="1">
                  <c:v>40</c:v>
                </c:pt>
                <c:pt idx="2">
                  <c:v>16</c:v>
                </c:pt>
                <c:pt idx="3">
                  <c:v>7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74-468C-A1D8-5E2B07384DF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51657728"/>
        <c:axId val="51660672"/>
        <c:axId val="0"/>
      </c:bar3DChart>
      <c:catAx>
        <c:axId val="51657728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 b="1">
                <a:solidFill>
                  <a:srgbClr val="002060"/>
                </a:solidFill>
                <a:latin typeface="Century Gothic" panose="020B0502020202020204" pitchFamily="34" charset="0"/>
              </a:defRPr>
            </a:pPr>
            <a:endParaRPr lang="ru-RU"/>
          </a:p>
        </c:txPr>
        <c:crossAx val="51660672"/>
        <c:crosses val="autoZero"/>
        <c:auto val="0"/>
        <c:lblAlgn val="ctr"/>
        <c:lblOffset val="100"/>
        <c:noMultiLvlLbl val="0"/>
      </c:catAx>
      <c:valAx>
        <c:axId val="5166067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one"/>
        <c:crossAx val="51657728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b="1">
                <a:solidFill>
                  <a:srgbClr val="002060"/>
                </a:solidFill>
              </a:rPr>
              <a:t>Скорость коррозии по купонам из углеродистой стали</a:t>
            </a:r>
            <a:r>
              <a:rPr lang="en-US" sz="1200" b="1">
                <a:solidFill>
                  <a:srgbClr val="002060"/>
                </a:solidFill>
              </a:rPr>
              <a:t> </a:t>
            </a:r>
            <a:r>
              <a:rPr lang="ru-RU" sz="1200" b="1">
                <a:solidFill>
                  <a:srgbClr val="002060"/>
                </a:solidFill>
              </a:rPr>
              <a:t>за 2018 - 2022 гг.</a:t>
            </a:r>
          </a:p>
        </c:rich>
      </c:tx>
      <c:layout>
        <c:manualLayout>
          <c:xMode val="edge"/>
          <c:yMode val="edge"/>
          <c:x val="0.1299445784287106"/>
          <c:y val="5.591001720792142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spc="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4.891251620886386E-2"/>
          <c:y val="0.14257686248228313"/>
          <c:w val="0.89079778361038209"/>
          <c:h val="0.6573388614829585"/>
        </c:manualLayout>
      </c:layout>
      <c:lineChart>
        <c:grouping val="standard"/>
        <c:varyColors val="0"/>
        <c:ser>
          <c:idx val="0"/>
          <c:order val="0"/>
          <c:tx>
            <c:v>Е-901</c:v>
          </c:tx>
          <c:spPr>
            <a:ln w="19050" cap="rnd" cmpd="sng" algn="ctr">
              <a:solidFill>
                <a:schemeClr val="accent1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6. Скорость коррозии'!$B$4:$C$68</c:f>
              <c:multiLvlStrCache>
                <c:ptCount val="5"/>
                <c:lvl/>
                <c:lvl>
                  <c:pt idx="0">
                    <c:v>2018</c:v>
                  </c:pt>
                  <c:pt idx="1">
                    <c:v>2019</c:v>
                  </c:pt>
                  <c:pt idx="2">
                    <c:v>2020</c:v>
                  </c:pt>
                  <c:pt idx="3">
                    <c:v>2021</c:v>
                  </c:pt>
                  <c:pt idx="4">
                    <c:v>2022</c:v>
                  </c:pt>
                </c:lvl>
              </c:multiLvlStrCache>
            </c:multiLvlStrRef>
          </c:cat>
          <c:val>
            <c:numRef>
              <c:f>'6. Скорость коррозии'!$D$4:$D$68</c:f>
              <c:numCache>
                <c:formatCode>_(* #,##0.00_);_(* \(#,##0.00\);_(* "-"??_);_(@_)</c:formatCode>
                <c:ptCount val="5"/>
                <c:pt idx="0">
                  <c:v>0.12333333333333334</c:v>
                </c:pt>
                <c:pt idx="1">
                  <c:v>5.9000000000000011E-2</c:v>
                </c:pt>
                <c:pt idx="2">
                  <c:v>0.13</c:v>
                </c:pt>
                <c:pt idx="3">
                  <c:v>4.3000000000000003E-2</c:v>
                </c:pt>
                <c:pt idx="4">
                  <c:v>6.166666666666666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6BA-4983-91C4-2C9D7C063360}"/>
            </c:ext>
          </c:extLst>
        </c:ser>
        <c:ser>
          <c:idx val="1"/>
          <c:order val="1"/>
          <c:tx>
            <c:v>1 система</c:v>
          </c:tx>
          <c:spPr>
            <a:ln w="19050" cap="rnd" cmpd="sng" algn="ctr">
              <a:solidFill>
                <a:schemeClr val="accent2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2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6. Скорость коррозии'!$B$4:$C$68</c:f>
              <c:multiLvlStrCache>
                <c:ptCount val="5"/>
                <c:lvl/>
                <c:lvl>
                  <c:pt idx="0">
                    <c:v>2018</c:v>
                  </c:pt>
                  <c:pt idx="1">
                    <c:v>2019</c:v>
                  </c:pt>
                  <c:pt idx="2">
                    <c:v>2020</c:v>
                  </c:pt>
                  <c:pt idx="3">
                    <c:v>2021</c:v>
                  </c:pt>
                  <c:pt idx="4">
                    <c:v>2022</c:v>
                  </c:pt>
                </c:lvl>
              </c:multiLvlStrCache>
            </c:multiLvlStrRef>
          </c:cat>
          <c:val>
            <c:numRef>
              <c:f>'6. Скорость коррозии'!$E$4:$E$68</c:f>
              <c:numCache>
                <c:formatCode>_(* #,##0.00_);_(* \(#,##0.00\);_(* "-"??_);_(@_)</c:formatCode>
                <c:ptCount val="5"/>
                <c:pt idx="0">
                  <c:v>0.61222222222222222</c:v>
                </c:pt>
                <c:pt idx="1">
                  <c:v>0.38800000000000001</c:v>
                </c:pt>
                <c:pt idx="2">
                  <c:v>0.20222222222222222</c:v>
                </c:pt>
                <c:pt idx="3">
                  <c:v>0.217</c:v>
                </c:pt>
                <c:pt idx="4">
                  <c:v>0.2075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6BA-4983-91C4-2C9D7C063360}"/>
            </c:ext>
          </c:extLst>
        </c:ser>
        <c:ser>
          <c:idx val="2"/>
          <c:order val="2"/>
          <c:tx>
            <c:v>2 система</c:v>
          </c:tx>
          <c:spPr>
            <a:ln w="19050" cap="rnd" cmpd="sng" algn="ctr">
              <a:solidFill>
                <a:schemeClr val="accent3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3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6. Скорость коррозии'!$B$4:$C$68</c:f>
              <c:multiLvlStrCache>
                <c:ptCount val="5"/>
                <c:lvl/>
                <c:lvl>
                  <c:pt idx="0">
                    <c:v>2018</c:v>
                  </c:pt>
                  <c:pt idx="1">
                    <c:v>2019</c:v>
                  </c:pt>
                  <c:pt idx="2">
                    <c:v>2020</c:v>
                  </c:pt>
                  <c:pt idx="3">
                    <c:v>2021</c:v>
                  </c:pt>
                  <c:pt idx="4">
                    <c:v>2022</c:v>
                  </c:pt>
                </c:lvl>
              </c:multiLvlStrCache>
            </c:multiLvlStrRef>
          </c:cat>
          <c:val>
            <c:numRef>
              <c:f>'6. Скорость коррозии'!$F$4:$F$68</c:f>
              <c:numCache>
                <c:formatCode>_(* #,##0.00_);_(* \(#,##0.00\);_(* "-"??_);_(@_)</c:formatCode>
                <c:ptCount val="5"/>
                <c:pt idx="0">
                  <c:v>0.42699999999999994</c:v>
                </c:pt>
                <c:pt idx="1">
                  <c:v>0.28124999999999994</c:v>
                </c:pt>
                <c:pt idx="2">
                  <c:v>7.8888888888888883E-2</c:v>
                </c:pt>
                <c:pt idx="3">
                  <c:v>6.0000000000000012E-2</c:v>
                </c:pt>
                <c:pt idx="4">
                  <c:v>9.166666666666667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6BA-4983-91C4-2C9D7C063360}"/>
            </c:ext>
          </c:extLst>
        </c:ser>
        <c:ser>
          <c:idx val="3"/>
          <c:order val="3"/>
          <c:tx>
            <c:v>2а система</c:v>
          </c:tx>
          <c:spPr>
            <a:ln w="19050" cap="rnd" cmpd="sng" algn="ctr">
              <a:solidFill>
                <a:schemeClr val="accent4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4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6. Скорость коррозии'!$B$4:$C$68</c:f>
              <c:multiLvlStrCache>
                <c:ptCount val="5"/>
                <c:lvl/>
                <c:lvl>
                  <c:pt idx="0">
                    <c:v>2018</c:v>
                  </c:pt>
                  <c:pt idx="1">
                    <c:v>2019</c:v>
                  </c:pt>
                  <c:pt idx="2">
                    <c:v>2020</c:v>
                  </c:pt>
                  <c:pt idx="3">
                    <c:v>2021</c:v>
                  </c:pt>
                  <c:pt idx="4">
                    <c:v>2022</c:v>
                  </c:pt>
                </c:lvl>
              </c:multiLvlStrCache>
            </c:multiLvlStrRef>
          </c:cat>
          <c:val>
            <c:numRef>
              <c:f>'6. Скорость коррозии'!$G$4:$G$68</c:f>
              <c:numCache>
                <c:formatCode>_(* #,##0.00_);_(* \(#,##0.00\);_(* "-"??_);_(@_)</c:formatCode>
                <c:ptCount val="5"/>
                <c:pt idx="0">
                  <c:v>0.16200000000000001</c:v>
                </c:pt>
                <c:pt idx="1">
                  <c:v>0.10300000000000001</c:v>
                </c:pt>
                <c:pt idx="2">
                  <c:v>5.4444444444444441E-2</c:v>
                </c:pt>
                <c:pt idx="3">
                  <c:v>5.9000000000000011E-2</c:v>
                </c:pt>
                <c:pt idx="4">
                  <c:v>8.833333333333333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6BA-4983-91C4-2C9D7C063360}"/>
            </c:ext>
          </c:extLst>
        </c:ser>
        <c:ser>
          <c:idx val="4"/>
          <c:order val="4"/>
          <c:tx>
            <c:v>Цель</c:v>
          </c:tx>
          <c:spPr>
            <a:ln w="31750" cap="rnd" cmpd="sng" algn="ctr">
              <a:solidFill>
                <a:srgbClr val="C0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multiLvlStrRef>
              <c:f>'6. Скорость коррозии'!$B$4:$C$68</c:f>
              <c:multiLvlStrCache>
                <c:ptCount val="5"/>
                <c:lvl/>
                <c:lvl>
                  <c:pt idx="0">
                    <c:v>2018</c:v>
                  </c:pt>
                  <c:pt idx="1">
                    <c:v>2019</c:v>
                  </c:pt>
                  <c:pt idx="2">
                    <c:v>2020</c:v>
                  </c:pt>
                  <c:pt idx="3">
                    <c:v>2021</c:v>
                  </c:pt>
                  <c:pt idx="4">
                    <c:v>2022</c:v>
                  </c:pt>
                </c:lvl>
              </c:multiLvlStrCache>
            </c:multiLvlStrRef>
          </c:cat>
          <c:val>
            <c:numRef>
              <c:f>'6. Скорость коррозии'!$H$4:$H$68</c:f>
              <c:numCache>
                <c:formatCode>General</c:formatCode>
                <c:ptCount val="5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6BA-4983-91C4-2C9D7C0633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42591311"/>
        <c:axId val="342589647"/>
      </c:lineChart>
      <c:catAx>
        <c:axId val="34259131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342589647"/>
        <c:crosses val="autoZero"/>
        <c:auto val="1"/>
        <c:lblAlgn val="ctr"/>
        <c:lblOffset val="100"/>
        <c:tickLblSkip val="1"/>
        <c:noMultiLvlLbl val="0"/>
      </c:catAx>
      <c:valAx>
        <c:axId val="342589647"/>
        <c:scaling>
          <c:orientation val="minMax"/>
        </c:scaling>
        <c:delete val="0"/>
        <c:axPos val="l"/>
        <c:majorGridlines>
          <c:spPr>
            <a:ln>
              <a:solidFill>
                <a:schemeClr val="dk1">
                  <a:lumMod val="15000"/>
                  <a:lumOff val="85000"/>
                </a:schemeClr>
              </a:solidFill>
            </a:ln>
            <a:effectLst/>
          </c:spPr>
        </c:majorGridlines>
        <c:numFmt formatCode="#,##0.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342591311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299883620849883E-2"/>
          <c:y val="0.93020475485441645"/>
          <c:w val="0.85827754639220222"/>
          <c:h val="6.08865570937006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 sz="1000"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b="1">
                <a:solidFill>
                  <a:srgbClr val="002060"/>
                </a:solidFill>
              </a:rPr>
              <a:t>Скорость коррозии по купонам из углеродистой стали за предыдущие 12 мес.</a:t>
            </a:r>
          </a:p>
        </c:rich>
      </c:tx>
      <c:layout>
        <c:manualLayout>
          <c:xMode val="edge"/>
          <c:yMode val="edge"/>
          <c:x val="0.1326491084822361"/>
          <c:y val="2.6471605608597453E-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spc="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6.1203499562554692E-2"/>
          <c:y val="0.14629754288206073"/>
          <c:w val="0.89079778361038209"/>
          <c:h val="0.49951880956263467"/>
        </c:manualLayout>
      </c:layout>
      <c:lineChart>
        <c:grouping val="standard"/>
        <c:varyColors val="0"/>
        <c:ser>
          <c:idx val="1"/>
          <c:order val="0"/>
          <c:tx>
            <c:v>1 система</c:v>
          </c:tx>
          <c:spPr>
            <a:ln w="19050" cap="rnd" cmpd="sng" algn="ctr">
              <a:solidFill>
                <a:schemeClr val="accent2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2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6. Скорость коррозии'!$B$4:$C$68</c:f>
              <c:multiLvlStrCache>
                <c:ptCount val="12"/>
                <c:lvl>
                  <c:pt idx="0">
                    <c:v>Июль</c:v>
                  </c:pt>
                  <c:pt idx="1">
                    <c:v>Август</c:v>
                  </c:pt>
                  <c:pt idx="2">
                    <c:v>Сентябрь</c:v>
                  </c:pt>
                  <c:pt idx="3">
                    <c:v>Октябрь</c:v>
                  </c:pt>
                  <c:pt idx="4">
                    <c:v>Ноябрь</c:v>
                  </c:pt>
                  <c:pt idx="5">
                    <c:v>Декабрь</c:v>
                  </c:pt>
                  <c:pt idx="6">
                    <c:v>Январь</c:v>
                  </c:pt>
                  <c:pt idx="7">
                    <c:v>Февраль</c:v>
                  </c:pt>
                  <c:pt idx="8">
                    <c:v>Март</c:v>
                  </c:pt>
                  <c:pt idx="9">
                    <c:v>Апрель</c:v>
                  </c:pt>
                  <c:pt idx="10">
                    <c:v>Май</c:v>
                  </c:pt>
                  <c:pt idx="11">
                    <c:v>Июнь</c:v>
                  </c:pt>
                </c:lvl>
                <c:lvl>
                  <c:pt idx="6">
                    <c:v>2022</c:v>
                  </c:pt>
                </c:lvl>
              </c:multiLvlStrCache>
            </c:multiLvlStrRef>
          </c:cat>
          <c:val>
            <c:numRef>
              <c:f>'6. Скорость коррозии'!$E$4:$E$68</c:f>
              <c:numCache>
                <c:formatCode>_(* #,##0.00_);_(* \(#,##0.00\);_(* "-"??_);_(@_)</c:formatCode>
                <c:ptCount val="12"/>
                <c:pt idx="0">
                  <c:v>0.2</c:v>
                </c:pt>
                <c:pt idx="1">
                  <c:v>0.41</c:v>
                </c:pt>
                <c:pt idx="2">
                  <c:v>0.33</c:v>
                </c:pt>
                <c:pt idx="4">
                  <c:v>0.245</c:v>
                </c:pt>
                <c:pt idx="6">
                  <c:v>0.1</c:v>
                </c:pt>
                <c:pt idx="7">
                  <c:v>0.215</c:v>
                </c:pt>
                <c:pt idx="8">
                  <c:v>0.06</c:v>
                </c:pt>
                <c:pt idx="9">
                  <c:v>0.125</c:v>
                </c:pt>
                <c:pt idx="10">
                  <c:v>0.51500000000000001</c:v>
                </c:pt>
                <c:pt idx="11">
                  <c:v>0.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C57-4227-9C1A-F1AE0DE90B88}"/>
            </c:ext>
          </c:extLst>
        </c:ser>
        <c:ser>
          <c:idx val="0"/>
          <c:order val="1"/>
          <c:tx>
            <c:v>Е-901</c:v>
          </c:tx>
          <c:spPr>
            <a:ln w="19050" cap="rnd" cmpd="sng" algn="ctr">
              <a:solidFill>
                <a:schemeClr val="accent1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6. Скорость коррозии'!$B$4:$C$68</c:f>
              <c:multiLvlStrCache>
                <c:ptCount val="12"/>
                <c:lvl>
                  <c:pt idx="0">
                    <c:v>Июль</c:v>
                  </c:pt>
                  <c:pt idx="1">
                    <c:v>Август</c:v>
                  </c:pt>
                  <c:pt idx="2">
                    <c:v>Сентябрь</c:v>
                  </c:pt>
                  <c:pt idx="3">
                    <c:v>Октябрь</c:v>
                  </c:pt>
                  <c:pt idx="4">
                    <c:v>Ноябрь</c:v>
                  </c:pt>
                  <c:pt idx="5">
                    <c:v>Декабрь</c:v>
                  </c:pt>
                  <c:pt idx="6">
                    <c:v>Январь</c:v>
                  </c:pt>
                  <c:pt idx="7">
                    <c:v>Февраль</c:v>
                  </c:pt>
                  <c:pt idx="8">
                    <c:v>Март</c:v>
                  </c:pt>
                  <c:pt idx="9">
                    <c:v>Апрель</c:v>
                  </c:pt>
                  <c:pt idx="10">
                    <c:v>Май</c:v>
                  </c:pt>
                  <c:pt idx="11">
                    <c:v>Июнь</c:v>
                  </c:pt>
                </c:lvl>
                <c:lvl>
                  <c:pt idx="6">
                    <c:v>2022</c:v>
                  </c:pt>
                </c:lvl>
              </c:multiLvlStrCache>
            </c:multiLvlStrRef>
          </c:cat>
          <c:val>
            <c:numRef>
              <c:f>'6. Скорость коррозии'!$D$4:$D$68</c:f>
              <c:numCache>
                <c:formatCode>_(* #,##0.00_);_(* \(#,##0.00\);_(* "-"??_);_(@_)</c:formatCode>
                <c:ptCount val="12"/>
                <c:pt idx="0">
                  <c:v>0.05</c:v>
                </c:pt>
                <c:pt idx="1">
                  <c:v>8.5000000000000006E-2</c:v>
                </c:pt>
                <c:pt idx="2">
                  <c:v>0.08</c:v>
                </c:pt>
                <c:pt idx="4">
                  <c:v>0.09</c:v>
                </c:pt>
                <c:pt idx="6">
                  <c:v>0.04</c:v>
                </c:pt>
                <c:pt idx="7">
                  <c:v>0.04</c:v>
                </c:pt>
                <c:pt idx="8">
                  <c:v>0.05</c:v>
                </c:pt>
                <c:pt idx="9">
                  <c:v>0.155</c:v>
                </c:pt>
                <c:pt idx="10">
                  <c:v>5.5E-2</c:v>
                </c:pt>
                <c:pt idx="11">
                  <c:v>0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C57-4227-9C1A-F1AE0DE90B88}"/>
            </c:ext>
          </c:extLst>
        </c:ser>
        <c:ser>
          <c:idx val="2"/>
          <c:order val="2"/>
          <c:tx>
            <c:v>2 система</c:v>
          </c:tx>
          <c:spPr>
            <a:ln w="19050" cap="rnd" cmpd="sng" algn="ctr">
              <a:solidFill>
                <a:schemeClr val="accent3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3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6. Скорость коррозии'!$B$4:$C$68</c:f>
              <c:multiLvlStrCache>
                <c:ptCount val="12"/>
                <c:lvl>
                  <c:pt idx="0">
                    <c:v>Июль</c:v>
                  </c:pt>
                  <c:pt idx="1">
                    <c:v>Август</c:v>
                  </c:pt>
                  <c:pt idx="2">
                    <c:v>Сентябрь</c:v>
                  </c:pt>
                  <c:pt idx="3">
                    <c:v>Октябрь</c:v>
                  </c:pt>
                  <c:pt idx="4">
                    <c:v>Ноябрь</c:v>
                  </c:pt>
                  <c:pt idx="5">
                    <c:v>Декабрь</c:v>
                  </c:pt>
                  <c:pt idx="6">
                    <c:v>Январь</c:v>
                  </c:pt>
                  <c:pt idx="7">
                    <c:v>Февраль</c:v>
                  </c:pt>
                  <c:pt idx="8">
                    <c:v>Март</c:v>
                  </c:pt>
                  <c:pt idx="9">
                    <c:v>Апрель</c:v>
                  </c:pt>
                  <c:pt idx="10">
                    <c:v>Май</c:v>
                  </c:pt>
                  <c:pt idx="11">
                    <c:v>Июнь</c:v>
                  </c:pt>
                </c:lvl>
                <c:lvl>
                  <c:pt idx="6">
                    <c:v>2022</c:v>
                  </c:pt>
                </c:lvl>
              </c:multiLvlStrCache>
            </c:multiLvlStrRef>
          </c:cat>
          <c:val>
            <c:numRef>
              <c:f>'6. Скорость коррозии'!$F$4:$F$68</c:f>
              <c:numCache>
                <c:formatCode>_(* #,##0.00_);_(* \(#,##0.00\);_(* "-"??_);_(@_)</c:formatCode>
                <c:ptCount val="12"/>
                <c:pt idx="0">
                  <c:v>0.03</c:v>
                </c:pt>
                <c:pt idx="1">
                  <c:v>0.03</c:v>
                </c:pt>
                <c:pt idx="2">
                  <c:v>0.18</c:v>
                </c:pt>
                <c:pt idx="4">
                  <c:v>0.19500000000000001</c:v>
                </c:pt>
                <c:pt idx="6">
                  <c:v>0.04</c:v>
                </c:pt>
                <c:pt idx="7">
                  <c:v>0.2</c:v>
                </c:pt>
                <c:pt idx="8">
                  <c:v>0.215</c:v>
                </c:pt>
                <c:pt idx="9">
                  <c:v>7.4999999999999997E-2</c:v>
                </c:pt>
                <c:pt idx="10">
                  <c:v>0.01</c:v>
                </c:pt>
                <c:pt idx="11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C57-4227-9C1A-F1AE0DE90B88}"/>
            </c:ext>
          </c:extLst>
        </c:ser>
        <c:ser>
          <c:idx val="3"/>
          <c:order val="3"/>
          <c:tx>
            <c:v>2а система</c:v>
          </c:tx>
          <c:spPr>
            <a:ln w="19050" cap="rnd" cmpd="sng" algn="ctr">
              <a:solidFill>
                <a:schemeClr val="accent4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4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'6. Скорость коррозии'!$B$4:$C$68</c:f>
              <c:multiLvlStrCache>
                <c:ptCount val="12"/>
                <c:lvl>
                  <c:pt idx="0">
                    <c:v>Июль</c:v>
                  </c:pt>
                  <c:pt idx="1">
                    <c:v>Август</c:v>
                  </c:pt>
                  <c:pt idx="2">
                    <c:v>Сентябрь</c:v>
                  </c:pt>
                  <c:pt idx="3">
                    <c:v>Октябрь</c:v>
                  </c:pt>
                  <c:pt idx="4">
                    <c:v>Ноябрь</c:v>
                  </c:pt>
                  <c:pt idx="5">
                    <c:v>Декабрь</c:v>
                  </c:pt>
                  <c:pt idx="6">
                    <c:v>Январь</c:v>
                  </c:pt>
                  <c:pt idx="7">
                    <c:v>Февраль</c:v>
                  </c:pt>
                  <c:pt idx="8">
                    <c:v>Март</c:v>
                  </c:pt>
                  <c:pt idx="9">
                    <c:v>Апрель</c:v>
                  </c:pt>
                  <c:pt idx="10">
                    <c:v>Май</c:v>
                  </c:pt>
                  <c:pt idx="11">
                    <c:v>Июнь</c:v>
                  </c:pt>
                </c:lvl>
                <c:lvl>
                  <c:pt idx="6">
                    <c:v>2022</c:v>
                  </c:pt>
                </c:lvl>
              </c:multiLvlStrCache>
            </c:multiLvlStrRef>
          </c:cat>
          <c:val>
            <c:numRef>
              <c:f>'6. Скорость коррозии'!$G$4:$G$68</c:f>
              <c:numCache>
                <c:formatCode>_(* #,##0.00_);_(* \(#,##0.00\);_(* "-"??_);_(@_)</c:formatCode>
                <c:ptCount val="12"/>
                <c:pt idx="0">
                  <c:v>0.19</c:v>
                </c:pt>
                <c:pt idx="1">
                  <c:v>0.05</c:v>
                </c:pt>
                <c:pt idx="2">
                  <c:v>0.08</c:v>
                </c:pt>
                <c:pt idx="4">
                  <c:v>0.04</c:v>
                </c:pt>
                <c:pt idx="6">
                  <c:v>4.4999999999999998E-2</c:v>
                </c:pt>
                <c:pt idx="7">
                  <c:v>1.4999999999999999E-2</c:v>
                </c:pt>
                <c:pt idx="8">
                  <c:v>0.01</c:v>
                </c:pt>
                <c:pt idx="9">
                  <c:v>0.155</c:v>
                </c:pt>
                <c:pt idx="10">
                  <c:v>0.16500000000000001</c:v>
                </c:pt>
                <c:pt idx="11">
                  <c:v>0.140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C57-4227-9C1A-F1AE0DE90B88}"/>
            </c:ext>
          </c:extLst>
        </c:ser>
        <c:ser>
          <c:idx val="4"/>
          <c:order val="4"/>
          <c:tx>
            <c:v>Цель</c:v>
          </c:tx>
          <c:spPr>
            <a:ln w="31750" cap="rnd" cmpd="sng" algn="ctr">
              <a:solidFill>
                <a:srgbClr val="C0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multiLvlStrRef>
              <c:f>'6. Скорость коррозии'!$B$4:$C$68</c:f>
              <c:multiLvlStrCache>
                <c:ptCount val="12"/>
                <c:lvl>
                  <c:pt idx="0">
                    <c:v>Июль</c:v>
                  </c:pt>
                  <c:pt idx="1">
                    <c:v>Август</c:v>
                  </c:pt>
                  <c:pt idx="2">
                    <c:v>Сентябрь</c:v>
                  </c:pt>
                  <c:pt idx="3">
                    <c:v>Октябрь</c:v>
                  </c:pt>
                  <c:pt idx="4">
                    <c:v>Ноябрь</c:v>
                  </c:pt>
                  <c:pt idx="5">
                    <c:v>Декабрь</c:v>
                  </c:pt>
                  <c:pt idx="6">
                    <c:v>Январь</c:v>
                  </c:pt>
                  <c:pt idx="7">
                    <c:v>Февраль</c:v>
                  </c:pt>
                  <c:pt idx="8">
                    <c:v>Март</c:v>
                  </c:pt>
                  <c:pt idx="9">
                    <c:v>Апрель</c:v>
                  </c:pt>
                  <c:pt idx="10">
                    <c:v>Май</c:v>
                  </c:pt>
                  <c:pt idx="11">
                    <c:v>Июнь</c:v>
                  </c:pt>
                </c:lvl>
                <c:lvl>
                  <c:pt idx="6">
                    <c:v>2022</c:v>
                  </c:pt>
                </c:lvl>
              </c:multiLvlStrCache>
            </c:multiLvlStrRef>
          </c:cat>
          <c:val>
            <c:numRef>
              <c:f>'6. Скорость коррозии'!$H$4:$H$68</c:f>
              <c:numCache>
                <c:formatCode>General</c:formatCode>
                <c:ptCount val="12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  <c:pt idx="9">
                  <c:v>0.1</c:v>
                </c:pt>
                <c:pt idx="10">
                  <c:v>0.1</c:v>
                </c:pt>
                <c:pt idx="11">
                  <c:v>0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C57-4227-9C1A-F1AE0DE90B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42591311"/>
        <c:axId val="342589647"/>
      </c:lineChart>
      <c:catAx>
        <c:axId val="34259131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342589647"/>
        <c:crosses val="autoZero"/>
        <c:auto val="1"/>
        <c:lblAlgn val="ctr"/>
        <c:lblOffset val="100"/>
        <c:tickLblSkip val="1"/>
        <c:noMultiLvlLbl val="0"/>
      </c:catAx>
      <c:valAx>
        <c:axId val="342589647"/>
        <c:scaling>
          <c:orientation val="minMax"/>
        </c:scaling>
        <c:delete val="0"/>
        <c:axPos val="l"/>
        <c:majorGridlines>
          <c:spPr>
            <a:ln>
              <a:solidFill>
                <a:schemeClr val="dk1">
                  <a:lumMod val="15000"/>
                  <a:lumOff val="85000"/>
                </a:schemeClr>
              </a:solidFill>
            </a:ln>
            <a:effectLst/>
          </c:spPr>
        </c:majorGridlines>
        <c:numFmt formatCode="#,##0.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342591311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5555550264638453E-2"/>
          <c:y val="0.87183897096812246"/>
          <c:w val="0.70494418197725284"/>
          <c:h val="6.08865570937006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 sz="1000"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ru-RU" sz="1400" b="1">
                <a:solidFill>
                  <a:sysClr val="windowText" lastClr="000000"/>
                </a:solidFill>
                <a:latin typeface="+mn-lt"/>
              </a:rPr>
              <a:t>Надежность оборудования по производствам, %</a:t>
            </a:r>
            <a:endParaRPr lang="en-CA" sz="1400" b="1">
              <a:solidFill>
                <a:sysClr val="windowText" lastClr="000000"/>
              </a:solidFill>
              <a:latin typeface="+mn-lt"/>
            </a:endParaRPr>
          </a:p>
        </c:rich>
      </c:tx>
      <c:layout>
        <c:manualLayout>
          <c:xMode val="edge"/>
          <c:yMode val="edge"/>
          <c:x val="0.25245008353120196"/>
          <c:y val="2.859556593101758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7.476200134817779E-3"/>
          <c:y val="0.60676233347023178"/>
          <c:w val="0.97427134017799155"/>
          <c:h val="0.26336606287241782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296766095"/>
        <c:axId val="1296774831"/>
      </c:barChart>
      <c:catAx>
        <c:axId val="129676609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[$-419]mmm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(Body)"/>
                <a:ea typeface="+mn-ea"/>
                <a:cs typeface="+mn-cs"/>
              </a:defRPr>
            </a:pPr>
            <a:endParaRPr lang="ru-RU"/>
          </a:p>
        </c:txPr>
        <c:crossAx val="1296774831"/>
        <c:crossesAt val="80"/>
        <c:auto val="1"/>
        <c:lblAlgn val="ctr"/>
        <c:lblOffset val="100"/>
        <c:noMultiLvlLbl val="0"/>
      </c:catAx>
      <c:valAx>
        <c:axId val="1296774831"/>
        <c:scaling>
          <c:orientation val="minMax"/>
          <c:max val="100"/>
          <c:min val="85"/>
        </c:scaling>
        <c:delete val="1"/>
        <c:axPos val="l"/>
        <c:numFmt formatCode="0%" sourceLinked="0"/>
        <c:majorTickMark val="out"/>
        <c:minorTickMark val="none"/>
        <c:tickLblPos val="nextTo"/>
        <c:crossAx val="1296766095"/>
        <c:crosses val="autoZero"/>
        <c:crossBetween val="between"/>
        <c:majorUnit val="5"/>
        <c:minorUnit val="5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 (Body)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900">
          <a:latin typeface="Calibri (Body)"/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938731211839293E-4"/>
          <c:y val="0.11391227907837513"/>
          <c:w val="0.97427134017799155"/>
          <c:h val="0.56024924922398778"/>
        </c:manualLayout>
      </c:layout>
      <c:barChart>
        <c:barDir val="col"/>
        <c:grouping val="clustered"/>
        <c:varyColors val="0"/>
        <c:ser>
          <c:idx val="2"/>
          <c:order val="0"/>
          <c:tx>
            <c:v>Факт '22, %</c:v>
          </c:tx>
          <c:spPr>
            <a:solidFill>
              <a:schemeClr val="accent6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 КПД Надежность по пр-вам'!$C$34:$C$40</c:f>
              <c:strCache>
                <c:ptCount val="6"/>
                <c:pt idx="0">
                  <c:v>ПППН</c:v>
                </c:pt>
                <c:pt idx="1">
                  <c:v>ПКОН</c:v>
                </c:pt>
                <c:pt idx="2">
                  <c:v>ПГПН</c:v>
                </c:pt>
                <c:pt idx="3">
                  <c:v>ППТНО</c:v>
                </c:pt>
                <c:pt idx="4">
                  <c:v>ПСиОЗХ</c:v>
                </c:pt>
                <c:pt idx="5">
                  <c:v>ПСН</c:v>
                </c:pt>
              </c:strCache>
              <c:extLst/>
            </c:strRef>
          </c:cat>
          <c:val>
            <c:numRef>
              <c:f>'2. КПД Надежность по пр-вам'!$G$6:$G$12</c:f>
              <c:numCache>
                <c:formatCode>0.0</c:formatCode>
                <c:ptCount val="6"/>
                <c:pt idx="0">
                  <c:v>89.935878537735846</c:v>
                </c:pt>
                <c:pt idx="1">
                  <c:v>92.452830188679243</c:v>
                </c:pt>
                <c:pt idx="2">
                  <c:v>86.037735849056602</c:v>
                </c:pt>
                <c:pt idx="3">
                  <c:v>92.138364779874209</c:v>
                </c:pt>
                <c:pt idx="4">
                  <c:v>92.924528301886795</c:v>
                </c:pt>
                <c:pt idx="5">
                  <c:v>90.56603773584906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A8B5-4B2B-8ACA-B2959DFA83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296766095"/>
        <c:axId val="1296774831"/>
      </c:barChart>
      <c:barChart>
        <c:barDir val="col"/>
        <c:grouping val="clustered"/>
        <c:varyColors val="0"/>
        <c:ser>
          <c:idx val="3"/>
          <c:order val="1"/>
          <c:tx>
            <c:v>Целевой уровень '22</c:v>
          </c:tx>
          <c:spPr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1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 КПД Надежность по пр-вам'!$C$34:$C$40</c:f>
              <c:strCache>
                <c:ptCount val="6"/>
                <c:pt idx="0">
                  <c:v>ПППН</c:v>
                </c:pt>
                <c:pt idx="1">
                  <c:v>ПКОН</c:v>
                </c:pt>
                <c:pt idx="2">
                  <c:v>ПГПН</c:v>
                </c:pt>
                <c:pt idx="3">
                  <c:v>ППТНО</c:v>
                </c:pt>
                <c:pt idx="4">
                  <c:v>ПСиОЗХ</c:v>
                </c:pt>
                <c:pt idx="5">
                  <c:v>ПСН</c:v>
                </c:pt>
              </c:strCache>
              <c:extLst/>
            </c:strRef>
          </c:cat>
          <c:val>
            <c:numRef>
              <c:f>'2. КПД Надежность по пр-вам'!$I$6:$I$12</c:f>
              <c:numCache>
                <c:formatCode>0.0</c:formatCode>
                <c:ptCount val="6"/>
                <c:pt idx="0">
                  <c:v>88.806603773584897</c:v>
                </c:pt>
                <c:pt idx="1">
                  <c:v>91.471698113207538</c:v>
                </c:pt>
                <c:pt idx="2">
                  <c:v>84.22264150943397</c:v>
                </c:pt>
                <c:pt idx="3">
                  <c:v>91.116352201257868</c:v>
                </c:pt>
                <c:pt idx="4">
                  <c:v>92.004716981132077</c:v>
                </c:pt>
                <c:pt idx="5">
                  <c:v>89.33962264150943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A8B5-4B2B-8ACA-B2959DFA83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95245744"/>
        <c:axId val="695240496"/>
      </c:barChart>
      <c:catAx>
        <c:axId val="129676609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[$-419]mmm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296774831"/>
        <c:crossesAt val="80"/>
        <c:auto val="1"/>
        <c:lblAlgn val="ctr"/>
        <c:lblOffset val="100"/>
        <c:noMultiLvlLbl val="0"/>
      </c:catAx>
      <c:valAx>
        <c:axId val="1296774831"/>
        <c:scaling>
          <c:orientation val="minMax"/>
          <c:max val="100"/>
          <c:min val="85"/>
        </c:scaling>
        <c:delete val="1"/>
        <c:axPos val="l"/>
        <c:numFmt formatCode="0%" sourceLinked="0"/>
        <c:majorTickMark val="out"/>
        <c:minorTickMark val="none"/>
        <c:tickLblPos val="nextTo"/>
        <c:crossAx val="1296766095"/>
        <c:crosses val="autoZero"/>
        <c:crossBetween val="between"/>
        <c:minorUnit val="5"/>
      </c:valAx>
      <c:valAx>
        <c:axId val="695240496"/>
        <c:scaling>
          <c:orientation val="minMax"/>
          <c:max val="100"/>
          <c:min val="80"/>
        </c:scaling>
        <c:delete val="0"/>
        <c:axPos val="r"/>
        <c:numFmt formatCode="0.0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695245744"/>
        <c:crosses val="max"/>
        <c:crossBetween val="between"/>
        <c:minorUnit val="0.5"/>
      </c:valAx>
      <c:catAx>
        <c:axId val="6952457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95240496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083390107626568"/>
          <c:y val="0.8711211830228538"/>
          <c:w val="0.42749729210258192"/>
          <c:h val="9.77171142588181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900">
          <a:latin typeface="Calibri (Body)"/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6120425514437096"/>
          <c:w val="1"/>
          <c:h val="0.36229350638682389"/>
        </c:manualLayout>
      </c:layout>
      <c:barChart>
        <c:barDir val="col"/>
        <c:grouping val="clustered"/>
        <c:varyColors val="0"/>
        <c:ser>
          <c:idx val="0"/>
          <c:order val="0"/>
          <c:tx>
            <c:v>Факт '22, %</c:v>
          </c:tx>
          <c:spPr>
            <a:solidFill>
              <a:srgbClr val="92D050"/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 КПД Надежность по пр-вам'!$C$6:$C$12</c:f>
              <c:strCache>
                <c:ptCount val="6"/>
                <c:pt idx="0">
                  <c:v>ПППН</c:v>
                </c:pt>
                <c:pt idx="1">
                  <c:v>ПКОН</c:v>
                </c:pt>
                <c:pt idx="2">
                  <c:v>ПГПН</c:v>
                </c:pt>
                <c:pt idx="3">
                  <c:v>ППТНО</c:v>
                </c:pt>
                <c:pt idx="4">
                  <c:v>ПСиОЗХ</c:v>
                </c:pt>
                <c:pt idx="5">
                  <c:v>ПСН</c:v>
                </c:pt>
              </c:strCache>
            </c:strRef>
          </c:cat>
          <c:val>
            <c:numRef>
              <c:f>'2. КПД Надежность по пр-вам'!$K$6:$K$12</c:f>
              <c:numCache>
                <c:formatCode>_(* #,##0.00_);_(* \(#,##0.00\);_(* "-"??_);_(@_)</c:formatCode>
                <c:ptCount val="6"/>
                <c:pt idx="0">
                  <c:v>1.1292747641509493</c:v>
                </c:pt>
                <c:pt idx="1">
                  <c:v>0.98113207547170589</c:v>
                </c:pt>
                <c:pt idx="2">
                  <c:v>1.8150943396226324</c:v>
                </c:pt>
                <c:pt idx="3">
                  <c:v>1.0220125786163408</c:v>
                </c:pt>
                <c:pt idx="4">
                  <c:v>0.91981132075471805</c:v>
                </c:pt>
                <c:pt idx="5">
                  <c:v>1.22641509433962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87-445F-9ED3-309527DEB534}"/>
            </c:ext>
          </c:extLst>
        </c:ser>
        <c:ser>
          <c:idx val="2"/>
          <c:order val="1"/>
          <c:tx>
            <c:v>Факт '21, %</c:v>
          </c:tx>
          <c:spPr>
            <a:solidFill>
              <a:srgbClr val="FFFF00"/>
            </a:solidFill>
            <a:ln w="12700">
              <a:solidFill>
                <a:sysClr val="windowText" lastClr="000000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 КПД Надежность по пр-вам'!$C$6:$C$12</c:f>
              <c:strCache>
                <c:ptCount val="6"/>
                <c:pt idx="0">
                  <c:v>ПППН</c:v>
                </c:pt>
                <c:pt idx="1">
                  <c:v>ПКОН</c:v>
                </c:pt>
                <c:pt idx="2">
                  <c:v>ПГПН</c:v>
                </c:pt>
                <c:pt idx="3">
                  <c:v>ППТНО</c:v>
                </c:pt>
                <c:pt idx="4">
                  <c:v>ПСиОЗХ</c:v>
                </c:pt>
                <c:pt idx="5">
                  <c:v>ПСН</c:v>
                </c:pt>
              </c:strCache>
            </c:strRef>
          </c:cat>
          <c:val>
            <c:numRef>
              <c:f>'2. КПД Надежность по пр-вам'!$K$34:$K$40</c:f>
              <c:numCache>
                <c:formatCode>_(* #,##0.00_);_(* \(#,##0.00\);_(* "-"??_);_(@_)</c:formatCode>
                <c:ptCount val="6"/>
                <c:pt idx="0">
                  <c:v>0.63256278538811728</c:v>
                </c:pt>
                <c:pt idx="1">
                  <c:v>0.35616438356166213</c:v>
                </c:pt>
                <c:pt idx="2">
                  <c:v>0.96876712328766246</c:v>
                </c:pt>
                <c:pt idx="3">
                  <c:v>2.0547945205493079E-2</c:v>
                </c:pt>
                <c:pt idx="4">
                  <c:v>0.53424657534245057</c:v>
                </c:pt>
                <c:pt idx="5">
                  <c:v>0.926027397260256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87-445F-9ED3-309527DEB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3"/>
        <c:axId val="1296766095"/>
        <c:axId val="1296774831"/>
      </c:barChart>
      <c:lineChart>
        <c:grouping val="standard"/>
        <c:varyColors val="0"/>
        <c:ser>
          <c:idx val="3"/>
          <c:order val="2"/>
          <c:tx>
            <c:v>Целевой уровень надежности производства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2. КПД Надежность по пр-вам'!$C$6:$C$12</c:f>
              <c:strCache>
                <c:ptCount val="6"/>
                <c:pt idx="0">
                  <c:v>ПППН</c:v>
                </c:pt>
                <c:pt idx="1">
                  <c:v>ПКОН</c:v>
                </c:pt>
                <c:pt idx="2">
                  <c:v>ПГПН</c:v>
                </c:pt>
                <c:pt idx="3">
                  <c:v>ППТНО</c:v>
                </c:pt>
                <c:pt idx="4">
                  <c:v>ПСиОЗХ</c:v>
                </c:pt>
                <c:pt idx="5">
                  <c:v>ПСН</c:v>
                </c:pt>
              </c:strCache>
            </c:strRef>
          </c:cat>
          <c:val>
            <c:numRef>
              <c:f>'2. КПД Надежность по пр-вам'!$L$34:$L$40</c:f>
              <c:numCache>
                <c:formatCode>_-* #\ ##0_-;\-* #\ ##0_-;_-* "-"??_-;_-@_-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87-445F-9ED3-309527DEB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6766095"/>
        <c:axId val="1296774831"/>
      </c:lineChart>
      <c:catAx>
        <c:axId val="129676609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[$-419]mmm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296774831"/>
        <c:crosses val="autoZero"/>
        <c:auto val="1"/>
        <c:lblAlgn val="ctr"/>
        <c:lblOffset val="100"/>
        <c:noMultiLvlLbl val="0"/>
      </c:catAx>
      <c:valAx>
        <c:axId val="1296774831"/>
        <c:scaling>
          <c:orientation val="minMax"/>
        </c:scaling>
        <c:delete val="1"/>
        <c:axPos val="l"/>
        <c:numFmt formatCode="0%" sourceLinked="0"/>
        <c:majorTickMark val="out"/>
        <c:minorTickMark val="none"/>
        <c:tickLblPos val="nextTo"/>
        <c:crossAx val="12967660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7.5532090368828603E-2"/>
          <c:y val="0.75959927301344099"/>
          <c:w val="0.92446797332233654"/>
          <c:h val="0.210735612299588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>
          <a:latin typeface="Century Gothic" panose="020B0502020202020204" pitchFamily="34" charset="0"/>
        </a:defRPr>
      </a:pPr>
      <a:endParaRPr lang="ru-RU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СОБЛЮДЕНИЕ ПЛАНОВОЙ</a:t>
            </a:r>
            <a:r>
              <a:rPr lang="ru-RU" sz="1200" baseline="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ДЛИТЕЛЬНОСТИ </a:t>
            </a:r>
          </a:p>
          <a:p>
            <a:pPr>
              <a:defRPr sz="1200" b="1">
                <a:solidFill>
                  <a:srgbClr val="002060"/>
                </a:solidFill>
                <a:latin typeface="Century Gothic" panose="020B0502020202020204" pitchFamily="34" charset="0"/>
              </a:defRPr>
            </a:pPr>
            <a:r>
              <a:rPr lang="ru-RU" sz="1200" baseline="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ЭТАПОВ ПРОЕКТА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</c:rich>
      </c:tx>
      <c:layout>
        <c:manualLayout>
          <c:xMode val="edge"/>
          <c:yMode val="edge"/>
          <c:x val="0.16151758362296112"/>
          <c:y val="2.7993965647216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5204813808754255"/>
          <c:y val="0.21098001388850279"/>
          <c:w val="0.42530874077700676"/>
          <c:h val="0.6249656228518499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11. Работы по НКО ЖГ'!$D$5</c:f>
              <c:strCache>
                <c:ptCount val="1"/>
                <c:pt idx="0">
                  <c:v>Факт, мес.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6E0-4E24-9082-5F1FF959E51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C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1. Работы по НКО ЖГ'!$C$6:$C$9</c:f>
              <c:strCache>
                <c:ptCount val="4"/>
                <c:pt idx="0">
                  <c:v>Сбор исходных данных</c:v>
                </c:pt>
                <c:pt idx="1">
                  <c:v>Изыскания и обследования</c:v>
                </c:pt>
                <c:pt idx="2">
                  <c:v>Разработка документации</c:v>
                </c:pt>
                <c:pt idx="3">
                  <c:v>Техническое сопровождение</c:v>
                </c:pt>
              </c:strCache>
            </c:strRef>
          </c:cat>
          <c:val>
            <c:numRef>
              <c:f>'11. Работы по НКО ЖГ'!$D$6:$D$9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E0-4E24-9082-5F1FF959E51C}"/>
            </c:ext>
          </c:extLst>
        </c:ser>
        <c:ser>
          <c:idx val="1"/>
          <c:order val="1"/>
          <c:tx>
            <c:strRef>
              <c:f>'11. Работы по НКО ЖГ'!$H$5</c:f>
              <c:strCache>
                <c:ptCount val="1"/>
                <c:pt idx="0">
                  <c:v>План, мес.</c:v>
                </c:pt>
              </c:strCache>
            </c:strRef>
          </c:tx>
          <c:spPr>
            <a:noFill/>
            <a:ln w="22225">
              <a:solidFill>
                <a:schemeClr val="accent2">
                  <a:lumMod val="75000"/>
                  <a:alpha val="79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11. Работы по НКО ЖГ'!$H$6:$H$9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E0-4E24-9082-5F1FF959E51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98"/>
        <c:axId val="1970726111"/>
        <c:axId val="1970709407"/>
      </c:barChart>
      <c:catAx>
        <c:axId val="1970726111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970709407"/>
        <c:crosses val="autoZero"/>
        <c:auto val="1"/>
        <c:lblAlgn val="ctr"/>
        <c:lblOffset val="100"/>
        <c:noMultiLvlLbl val="0"/>
      </c:catAx>
      <c:valAx>
        <c:axId val="1970709407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9707261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11. Работы по НКО ЖГ'!$C$1</c:f>
          <c:strCache>
            <c:ptCount val="1"/>
            <c:pt idx="0">
              <c:v>Проект по подбору компрессоров жирного газа</c:v>
            </c:pt>
          </c:strCache>
        </c:strRef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3.4104220426049561E-2"/>
          <c:y val="0.24108907088009662"/>
          <c:w val="0.94640765361620782"/>
          <c:h val="0.500610334551769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11. Работы по НКО ЖГ'!$E$5</c:f>
              <c:strCache>
                <c:ptCount val="1"/>
                <c:pt idx="0">
                  <c:v>Прогресс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A09-4F4E-86C6-61E8C2B5340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A09-4F4E-86C6-61E8C2B5340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A09-4F4E-86C6-61E8C2B5340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A09-4F4E-86C6-61E8C2B5340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A09-4F4E-86C6-61E8C2B5340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1. Работы по НКО ЖГ'!$C$6:$C$10</c:f>
              <c:strCache>
                <c:ptCount val="5"/>
                <c:pt idx="0">
                  <c:v>Сбор исходных данных</c:v>
                </c:pt>
                <c:pt idx="1">
                  <c:v>Изыскания и обследования</c:v>
                </c:pt>
                <c:pt idx="2">
                  <c:v>Разработка документации</c:v>
                </c:pt>
                <c:pt idx="3">
                  <c:v>Техническое сопровождение</c:v>
                </c:pt>
                <c:pt idx="4">
                  <c:v>Общий прогресс</c:v>
                </c:pt>
              </c:strCache>
            </c:strRef>
          </c:cat>
          <c:val>
            <c:numRef>
              <c:f>'11. Работы по НКО ЖГ'!$E$6:$E$10</c:f>
              <c:numCache>
                <c:formatCode>0%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A09-4F4E-86C6-61E8C2B53400}"/>
            </c:ext>
          </c:extLst>
        </c:ser>
        <c:ser>
          <c:idx val="1"/>
          <c:order val="1"/>
          <c:tx>
            <c:strRef>
              <c:f>'11. Работы по НКО ЖГ'!$G$5</c:f>
              <c:strCache>
                <c:ptCount val="1"/>
                <c:pt idx="0">
                  <c:v>План</c:v>
                </c:pt>
              </c:strCache>
            </c:strRef>
          </c:tx>
          <c:spPr>
            <a:noFill/>
            <a:ln w="28575">
              <a:solidFill>
                <a:schemeClr val="accent6">
                  <a:alpha val="66000"/>
                </a:schemeClr>
              </a:solidFill>
            </a:ln>
            <a:effectLst/>
          </c:spPr>
          <c:invertIfNegative val="0"/>
          <c:dLbls>
            <c:delete val="1"/>
          </c:dLbls>
          <c:val>
            <c:numRef>
              <c:f>'11. Работы по НКО ЖГ'!$G$6:$G$10</c:f>
              <c:numCache>
                <c:formatCode>0%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A09-4F4E-86C6-61E8C2B5340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6474096"/>
        <c:axId val="106480128"/>
      </c:barChart>
      <c:catAx>
        <c:axId val="10647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06480128"/>
        <c:crosses val="autoZero"/>
        <c:auto val="1"/>
        <c:lblAlgn val="ctr"/>
        <c:lblOffset val="100"/>
        <c:noMultiLvlLbl val="0"/>
      </c:catAx>
      <c:valAx>
        <c:axId val="106480128"/>
        <c:scaling>
          <c:orientation val="minMax"/>
          <c:max val="1"/>
        </c:scaling>
        <c:delete val="1"/>
        <c:axPos val="l"/>
        <c:numFmt formatCode="0%" sourceLinked="1"/>
        <c:majorTickMark val="out"/>
        <c:minorTickMark val="none"/>
        <c:tickLblPos val="nextTo"/>
        <c:crossAx val="106474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5149709387358"/>
          <c:y val="0.94184849410612903"/>
          <c:w val="0.30884482629441429"/>
          <c:h val="5.81515058938710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cs:styleClr val="auto"/>
    </cs:fontRef>
    <cs:spPr/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440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cs:styleClr val="auto"/>
    </cs:fontRef>
    <cs:spPr/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440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4407</cdr:x>
      <cdr:y>0.45472</cdr:y>
    </cdr:from>
    <cdr:to>
      <cdr:x>0.66197</cdr:x>
      <cdr:y>0.6442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63550" y="219381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30449</cdr:x>
      <cdr:y>0.42487</cdr:y>
    </cdr:from>
    <cdr:to>
      <cdr:x>0.63919</cdr:x>
      <cdr:y>0.5293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297223" y="1598585"/>
          <a:ext cx="1425939" cy="3931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1400" b="1" dirty="0" smtClean="0">
              <a:solidFill>
                <a:srgbClr val="002060"/>
              </a:solidFill>
              <a:latin typeface="Century Gothic" panose="020B0502020202020204" pitchFamily="34" charset="0"/>
            </a:rPr>
            <a:t>Всего 77 ед.</a:t>
          </a:r>
          <a:endParaRPr lang="ru-RU" sz="1400" b="1" dirty="0">
            <a:solidFill>
              <a:srgbClr val="002060"/>
            </a:solidFill>
            <a:latin typeface="Century Gothic" panose="020B0502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04336</cdr:y>
    </cdr:from>
    <cdr:to>
      <cdr:x>1</cdr:x>
      <cdr:y>0.25826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0" y="105569"/>
          <a:ext cx="5183357" cy="5232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 sz="1200" b="1" i="0" u="none" strike="noStrike" kern="1200" spc="0" baseline="0">
              <a:solidFill>
                <a:srgbClr val="002060"/>
              </a:solidFill>
              <a:latin typeface="Century Gothic" panose="020B0502020202020204" pitchFamily="34" charset="0"/>
              <a:ea typeface="+mn-ea"/>
              <a:cs typeface="+mn-cs"/>
            </a:defRPr>
          </a:pPr>
          <a:r>
            <a:rPr lang="ru-RU" sz="1400" b="1" dirty="0" smtClean="0">
              <a:solidFill>
                <a:srgbClr val="002060"/>
              </a:solidFill>
            </a:rPr>
            <a:t>ИСПОЛНЕНИЕ ЦЕЛЕВОГО </a:t>
          </a:r>
          <a:r>
            <a:rPr lang="ru-RU" sz="1400" b="1" dirty="0">
              <a:solidFill>
                <a:srgbClr val="002060"/>
              </a:solidFill>
            </a:rPr>
            <a:t>УРОВНЯ </a:t>
          </a:r>
          <a:r>
            <a:rPr lang="ru-RU" sz="1400" b="1" dirty="0" smtClean="0">
              <a:solidFill>
                <a:srgbClr val="002060"/>
              </a:solidFill>
            </a:rPr>
            <a:t>ПО </a:t>
          </a:r>
          <a:r>
            <a:rPr lang="ru-RU" sz="1400" b="1" dirty="0">
              <a:solidFill>
                <a:srgbClr val="002060"/>
              </a:solidFill>
            </a:rPr>
            <a:t>ПРОИЗВОДСТВАМ, П.П.</a:t>
          </a:r>
          <a:endParaRPr lang="en-CA" sz="1400" b="1" dirty="0">
            <a:solidFill>
              <a:srgbClr val="002060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1358</cdr:x>
      <cdr:y>0.29545</cdr:y>
    </cdr:from>
    <cdr:to>
      <cdr:x>0.77937</cdr:x>
      <cdr:y>0.40865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5138327" y="601305"/>
          <a:ext cx="473741" cy="230388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0,8%</a:t>
          </a:r>
          <a:endParaRPr lang="ru-RU" sz="1200" b="1" dirty="0">
            <a:solidFill>
              <a:schemeClr val="tx2">
                <a:lumMod val="60000"/>
                <a:lumOff val="4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6358</cdr:x>
      <cdr:y>0.55366</cdr:y>
    </cdr:from>
    <cdr:to>
      <cdr:x>0.63607</cdr:x>
      <cdr:y>0.67206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4264002" y="1278586"/>
          <a:ext cx="548453" cy="273424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0,9%</a:t>
          </a:r>
          <a:endParaRPr lang="ru-RU" sz="1200" b="1" dirty="0">
            <a:solidFill>
              <a:schemeClr val="tx2">
                <a:lumMod val="60000"/>
                <a:lumOff val="4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1768</cdr:x>
      <cdr:y>0.13009</cdr:y>
    </cdr:from>
    <cdr:to>
      <cdr:x>0.25125</cdr:x>
      <cdr:y>0.18062</cdr:y>
    </cdr:to>
    <cdr:cxnSp macro="">
      <cdr:nvCxnSpPr>
        <cdr:cNvPr id="9" name="Прямая со стрелкой 8"/>
        <cdr:cNvCxnSpPr/>
      </cdr:nvCxnSpPr>
      <cdr:spPr>
        <a:xfrm xmlns:a="http://schemas.openxmlformats.org/drawingml/2006/main">
          <a:off x="1567444" y="264757"/>
          <a:ext cx="241731" cy="102840"/>
        </a:xfrm>
        <a:prstGeom xmlns:a="http://schemas.openxmlformats.org/drawingml/2006/main" prst="straightConnector1">
          <a:avLst/>
        </a:prstGeom>
        <a:ln xmlns:a="http://schemas.openxmlformats.org/drawingml/2006/main" w="38100">
          <a:solidFill>
            <a:srgbClr val="00B050"/>
          </a:solidFill>
          <a:tailEnd type="triangle"/>
        </a:ln>
      </cdr:spPr>
      <cdr:style>
        <a:lnRef xmlns:a="http://schemas.openxmlformats.org/drawingml/2006/main" idx="1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2916</cdr:x>
      <cdr:y>0.59063</cdr:y>
    </cdr:from>
    <cdr:to>
      <cdr:x>0.56916</cdr:x>
      <cdr:y>0.64492</cdr:y>
    </cdr:to>
    <cdr:cxnSp macro="">
      <cdr:nvCxnSpPr>
        <cdr:cNvPr id="14" name="Прямая со стрелкой 13"/>
        <cdr:cNvCxnSpPr/>
      </cdr:nvCxnSpPr>
      <cdr:spPr>
        <a:xfrm xmlns:a="http://schemas.openxmlformats.org/drawingml/2006/main" flipV="1">
          <a:off x="4003563" y="1363951"/>
          <a:ext cx="302637" cy="125373"/>
        </a:xfrm>
        <a:prstGeom xmlns:a="http://schemas.openxmlformats.org/drawingml/2006/main" prst="straightConnector1">
          <a:avLst/>
        </a:prstGeom>
        <a:ln xmlns:a="http://schemas.openxmlformats.org/drawingml/2006/main" w="38100">
          <a:tailEnd type="triangle"/>
        </a:ln>
      </cdr:spPr>
      <cdr:style>
        <a:lnRef xmlns:a="http://schemas.openxmlformats.org/drawingml/2006/main" idx="1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4358</cdr:x>
      <cdr:y>0.11854</cdr:y>
    </cdr:from>
    <cdr:to>
      <cdr:x>0.31304</cdr:x>
      <cdr:y>0.26006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1753951" y="241265"/>
          <a:ext cx="500167" cy="288025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/>
          <a:r>
            <a:rPr lang="ru-RU" sz="1200" b="1" dirty="0" smtClean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  <a:ea typeface="+mn-ea"/>
              <a:cs typeface="Arial" panose="020B0604020202020204" pitchFamily="34" charset="0"/>
            </a:rPr>
            <a:t>3,9%</a:t>
          </a:r>
          <a:endParaRPr lang="ru-RU" sz="1200" b="1" dirty="0">
            <a:solidFill>
              <a:schemeClr val="tx2">
                <a:lumMod val="60000"/>
                <a:lumOff val="40000"/>
              </a:schemeClr>
            </a:solidFill>
            <a:latin typeface="Century Gothic" panose="020B0502020202020204" pitchFamily="34" charset="0"/>
            <a:ea typeface="+mn-ea"/>
            <a:cs typeface="Arial" panose="020B0604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184788-6911-4512-B395-E8FF2E06ECEB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690DD9-364F-445F-B57E-716DCC4526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1844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8368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974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9700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491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12192000" cy="68358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589627" y="0"/>
            <a:ext cx="11075633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0568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1837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1367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6318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5824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4343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8146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87492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138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44A326-5681-454F-B11E-9AA6A336A507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7DBDA0-51E4-48D5-BD91-C648CC0F23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893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7" Type="http://schemas.openxmlformats.org/officeDocument/2006/relationships/chart" Target="../charts/chart7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jpeg"/><Relationship Id="rId9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16.xml"/><Relationship Id="rId5" Type="http://schemas.openxmlformats.org/officeDocument/2006/relationships/image" Target="../media/image41.jpeg"/><Relationship Id="rId4" Type="http://schemas.openxmlformats.org/officeDocument/2006/relationships/chart" Target="../charts/char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3.jpg"/><Relationship Id="rId4" Type="http://schemas.openxmlformats.org/officeDocument/2006/relationships/image" Target="../media/image42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7" Type="http://schemas.openxmlformats.org/officeDocument/2006/relationships/image" Target="../media/image5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1.jpeg"/><Relationship Id="rId7" Type="http://schemas.openxmlformats.org/officeDocument/2006/relationships/image" Target="../media/image59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image" Target="../media/image61.png"/><Relationship Id="rId7" Type="http://schemas.openxmlformats.org/officeDocument/2006/relationships/image" Target="../media/image6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4.jpeg"/><Relationship Id="rId5" Type="http://schemas.openxmlformats.org/officeDocument/2006/relationships/image" Target="../media/image63.jpeg"/><Relationship Id="rId10" Type="http://schemas.openxmlformats.org/officeDocument/2006/relationships/image" Target="../media/image68.jpeg"/><Relationship Id="rId4" Type="http://schemas.openxmlformats.org/officeDocument/2006/relationships/image" Target="../media/image62.jpeg"/><Relationship Id="rId9" Type="http://schemas.openxmlformats.org/officeDocument/2006/relationships/image" Target="../media/image67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image" Target="../media/image69.jpeg"/><Relationship Id="rId7" Type="http://schemas.openxmlformats.org/officeDocument/2006/relationships/image" Target="../media/image73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10" Type="http://schemas.openxmlformats.org/officeDocument/2006/relationships/image" Target="../media/image76.jpeg"/><Relationship Id="rId4" Type="http://schemas.openxmlformats.org/officeDocument/2006/relationships/image" Target="../media/image70.jpeg"/><Relationship Id="rId9" Type="http://schemas.openxmlformats.org/officeDocument/2006/relationships/image" Target="../media/image75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13" Type="http://schemas.openxmlformats.org/officeDocument/2006/relationships/image" Target="../media/image87.jpeg"/><Relationship Id="rId3" Type="http://schemas.openxmlformats.org/officeDocument/2006/relationships/image" Target="../media/image77.jpeg"/><Relationship Id="rId7" Type="http://schemas.openxmlformats.org/officeDocument/2006/relationships/image" Target="../media/image81.jpeg"/><Relationship Id="rId12" Type="http://schemas.openxmlformats.org/officeDocument/2006/relationships/image" Target="../media/image86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0.jpeg"/><Relationship Id="rId11" Type="http://schemas.openxmlformats.org/officeDocument/2006/relationships/image" Target="../media/image85.jpeg"/><Relationship Id="rId5" Type="http://schemas.openxmlformats.org/officeDocument/2006/relationships/image" Target="../media/image79.jpeg"/><Relationship Id="rId10" Type="http://schemas.openxmlformats.org/officeDocument/2006/relationships/image" Target="../media/image84.jpeg"/><Relationship Id="rId4" Type="http://schemas.openxmlformats.org/officeDocument/2006/relationships/image" Target="../media/image78.jpeg"/><Relationship Id="rId9" Type="http://schemas.openxmlformats.org/officeDocument/2006/relationships/image" Target="../media/image83.jpeg"/><Relationship Id="rId14" Type="http://schemas.openxmlformats.org/officeDocument/2006/relationships/image" Target="../media/image88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10" Type="http://schemas.openxmlformats.org/officeDocument/2006/relationships/image" Target="../media/image19.png"/><Relationship Id="rId4" Type="http://schemas.microsoft.com/office/2007/relationships/hdphoto" Target="../media/hdphoto1.wdp"/><Relationship Id="rId9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A3D5AFC-184E-4321-BFE2-EB35B0B32E44}"/>
              </a:ext>
            </a:extLst>
          </p:cNvPr>
          <p:cNvSpPr txBox="1"/>
          <p:nvPr/>
        </p:nvSpPr>
        <p:spPr>
          <a:xfrm>
            <a:off x="653144" y="2080960"/>
            <a:ext cx="107246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ОТЧЕТ  ПО ИТОГАМ РАБОТЫ </a:t>
            </a:r>
            <a:br>
              <a:rPr lang="ru-RU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ТОО «Павлодарский нефтехимический завод»</a:t>
            </a:r>
            <a:br>
              <a:rPr lang="ru-RU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ru-RU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за первое полугодие 2022 года</a:t>
            </a:r>
            <a:endParaRPr lang="ru-RU" sz="3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8389" y="288790"/>
            <a:ext cx="3121748" cy="736821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5252366" y="6187559"/>
            <a:ext cx="22397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24 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</a:rPr>
              <a:t>августа 2022г. </a:t>
            </a:r>
            <a:endParaRPr lang="ru-KZ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663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9509" y="92521"/>
            <a:ext cx="2254219" cy="53206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97927" y="158496"/>
            <a:ext cx="81762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СПОЛНЕНИЕ СРОКОВ ГРАФИКА ОСТАНОВОЧНОГО РЕМОНТА 2022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314351"/>
              </p:ext>
            </p:extLst>
          </p:nvPr>
        </p:nvGraphicFramePr>
        <p:xfrm>
          <a:off x="1295401" y="2088170"/>
          <a:ext cx="9601199" cy="4541278"/>
        </p:xfrm>
        <a:graphic>
          <a:graphicData uri="http://schemas.openxmlformats.org/drawingml/2006/table">
            <a:tbl>
              <a:tblPr/>
              <a:tblGrid>
                <a:gridCol w="910868">
                  <a:extLst>
                    <a:ext uri="{9D8B030D-6E8A-4147-A177-3AD203B41FA5}">
                      <a16:colId xmlns:a16="http://schemas.microsoft.com/office/drawing/2014/main" val="3983240140"/>
                    </a:ext>
                  </a:extLst>
                </a:gridCol>
                <a:gridCol w="2622645">
                  <a:extLst>
                    <a:ext uri="{9D8B030D-6E8A-4147-A177-3AD203B41FA5}">
                      <a16:colId xmlns:a16="http://schemas.microsoft.com/office/drawing/2014/main" val="2990405737"/>
                    </a:ext>
                  </a:extLst>
                </a:gridCol>
                <a:gridCol w="1941739">
                  <a:extLst>
                    <a:ext uri="{9D8B030D-6E8A-4147-A177-3AD203B41FA5}">
                      <a16:colId xmlns:a16="http://schemas.microsoft.com/office/drawing/2014/main" val="2046494878"/>
                    </a:ext>
                  </a:extLst>
                </a:gridCol>
                <a:gridCol w="1911632">
                  <a:extLst>
                    <a:ext uri="{9D8B030D-6E8A-4147-A177-3AD203B41FA5}">
                      <a16:colId xmlns:a16="http://schemas.microsoft.com/office/drawing/2014/main" val="26941633"/>
                    </a:ext>
                  </a:extLst>
                </a:gridCol>
                <a:gridCol w="2214315">
                  <a:extLst>
                    <a:ext uri="{9D8B030D-6E8A-4147-A177-3AD203B41FA5}">
                      <a16:colId xmlns:a16="http://schemas.microsoft.com/office/drawing/2014/main" val="2847349827"/>
                    </a:ext>
                  </a:extLst>
                </a:gridCol>
              </a:tblGrid>
              <a:tr h="55895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Производство,</a:t>
                      </a:r>
                      <a:endParaRPr lang="ru-RU" sz="1200" b="1" i="0" u="none" strike="noStrike" baseline="0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 fontAlgn="ctr"/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ехнологическая установк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План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( кол-во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дней простоя )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Факт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( кол-во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дней простоя )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Отклонение,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( дней )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254973"/>
                  </a:ext>
                </a:extLst>
              </a:tr>
              <a:tr h="199634">
                <a:tc rowSpan="4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ППП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Секция </a:t>
                      </a: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974387"/>
                  </a:ext>
                </a:extLst>
              </a:tr>
              <a:tr h="19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С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0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Риформинг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2275663"/>
                  </a:ext>
                </a:extLst>
              </a:tr>
              <a:tr h="19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Секция 300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ГО Д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247864"/>
                  </a:ext>
                </a:extLst>
              </a:tr>
              <a:tr h="19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Секц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00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636377"/>
                  </a:ext>
                </a:extLst>
              </a:tr>
              <a:tr h="190909">
                <a:tc gridSpan="5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652792"/>
                  </a:ext>
                </a:extLst>
              </a:tr>
              <a:tr h="1996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ПС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Изомеризац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97147"/>
                  </a:ext>
                </a:extLst>
              </a:tr>
              <a:tr h="190909">
                <a:tc gridSpan="5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249595"/>
                  </a:ext>
                </a:extLst>
              </a:tr>
              <a:tr h="199634">
                <a:tc rowSpan="5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ПГП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Секц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01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5482208"/>
                  </a:ext>
                </a:extLst>
              </a:tr>
              <a:tr h="19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Секц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0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073948"/>
                  </a:ext>
                </a:extLst>
              </a:tr>
              <a:tr h="19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Секц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0 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7792182"/>
                  </a:ext>
                </a:extLst>
              </a:tr>
              <a:tr h="19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Секц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0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714019"/>
                  </a:ext>
                </a:extLst>
              </a:tr>
              <a:tr h="19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Секц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00</a:t>
                      </a: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497503"/>
                  </a:ext>
                </a:extLst>
              </a:tr>
              <a:tr h="190909">
                <a:tc gridSpan="5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082462"/>
                  </a:ext>
                </a:extLst>
              </a:tr>
              <a:tr h="19963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ППТН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УЗ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8874927"/>
                  </a:ext>
                </a:extLst>
              </a:tr>
              <a:tr h="19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УПБ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981128"/>
                  </a:ext>
                </a:extLst>
              </a:tr>
              <a:tr h="19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АГ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415414"/>
                  </a:ext>
                </a:extLst>
              </a:tr>
              <a:tr h="190909">
                <a:tc gridSpan="5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398444"/>
                  </a:ext>
                </a:extLst>
              </a:tr>
              <a:tr h="1996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ПСиОЗХ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КУП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435644"/>
                  </a:ext>
                </a:extLst>
              </a:tr>
              <a:tr h="190909">
                <a:tc gridSpan="5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751608"/>
                  </a:ext>
                </a:extLst>
              </a:tr>
              <a:tr h="23290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ПКО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ПСГ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846" marR="6846" marT="684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3664168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72600" y="739549"/>
            <a:ext cx="8490857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30"/>
              </a:spcBef>
            </a:pP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Начало ремонта –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08.07.2022г.</a:t>
            </a:r>
          </a:p>
          <a:p>
            <a:pPr>
              <a:spcBef>
                <a:spcPts val="330"/>
              </a:spcBef>
            </a:pP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Выход на режим –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7.07.2022г.</a:t>
            </a:r>
          </a:p>
          <a:p>
            <a:pPr>
              <a:spcBef>
                <a:spcPts val="330"/>
              </a:spcBef>
            </a:pP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Заключено договоров на проведение ремонта –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14 договоров</a:t>
            </a:r>
          </a:p>
          <a:p>
            <a:pPr>
              <a:spcBef>
                <a:spcPts val="330"/>
              </a:spcBef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Цель достигнута: безопасность, сроки проведения, объемы работ, бюджет.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0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133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9509" y="92521"/>
            <a:ext cx="2254219" cy="53206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35130" y="173885"/>
            <a:ext cx="75518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УКРУПНЕННЫЙ ПЕРЕЧЕНЬ РАБОТ ОСТАНОВОЧНОГО РЕМОНТА </a:t>
            </a:r>
            <a:endParaRPr lang="ru-RU" b="1" dirty="0">
              <a:solidFill>
                <a:prstClr val="white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235130" y="940528"/>
          <a:ext cx="11599819" cy="58153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882">
                  <a:extLst>
                    <a:ext uri="{9D8B030D-6E8A-4147-A177-3AD203B41FA5}">
                      <a16:colId xmlns:a16="http://schemas.microsoft.com/office/drawing/2014/main" val="1269785305"/>
                    </a:ext>
                  </a:extLst>
                </a:gridCol>
                <a:gridCol w="3643914">
                  <a:extLst>
                    <a:ext uri="{9D8B030D-6E8A-4147-A177-3AD203B41FA5}">
                      <a16:colId xmlns:a16="http://schemas.microsoft.com/office/drawing/2014/main" val="1622541973"/>
                    </a:ext>
                  </a:extLst>
                </a:gridCol>
                <a:gridCol w="1529924">
                  <a:extLst>
                    <a:ext uri="{9D8B030D-6E8A-4147-A177-3AD203B41FA5}">
                      <a16:colId xmlns:a16="http://schemas.microsoft.com/office/drawing/2014/main" val="3622271196"/>
                    </a:ext>
                  </a:extLst>
                </a:gridCol>
                <a:gridCol w="2519561">
                  <a:extLst>
                    <a:ext uri="{9D8B030D-6E8A-4147-A177-3AD203B41FA5}">
                      <a16:colId xmlns:a16="http://schemas.microsoft.com/office/drawing/2014/main" val="239386650"/>
                    </a:ext>
                  </a:extLst>
                </a:gridCol>
                <a:gridCol w="3644538">
                  <a:extLst>
                    <a:ext uri="{9D8B030D-6E8A-4147-A177-3AD203B41FA5}">
                      <a16:colId xmlns:a16="http://schemas.microsoft.com/office/drawing/2014/main" val="1020396578"/>
                    </a:ext>
                  </a:extLst>
                </a:gridCol>
              </a:tblGrid>
              <a:tr h="39974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 Наименование работ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оизводство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сполнитель</a:t>
                      </a: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абот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имечание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50072"/>
                  </a:ext>
                </a:extLst>
              </a:tr>
              <a:tr h="634414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оведени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егенерации, выгрузки, просева и загрузки катализатора в реакторах риформинга Р-202, Р-203, Р-204, </a:t>
                      </a: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атализатора гидроочистки Р-301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ППН С-200, 30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talyst Service»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ответстви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родуктовых потоков спецификациям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54015"/>
                  </a:ext>
                </a:extLst>
              </a:tr>
              <a:tr h="328528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Замена катализатора гидрогенизации Р-201 А-710 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СиОЗХ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talyst Service»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ответстви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родуктовых потоков спецификациям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1377746"/>
                  </a:ext>
                </a:extLst>
              </a:tr>
              <a:tr h="363108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ена емкость Е-101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ППН, С-10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РМУ»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статического 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672114"/>
                  </a:ext>
                </a:extLst>
              </a:tr>
              <a:tr h="516685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ена сменно-проточная часть центробежного компрессора ЦК-30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ППН, Газовая</a:t>
                      </a:r>
                      <a:r>
                        <a:rPr lang="ru-RU" sz="1200" baseline="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компрессорная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О «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ИИтурбокомпрессор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», 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тал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Сервис»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динамического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17065"/>
                  </a:ext>
                </a:extLst>
              </a:tr>
              <a:tr h="393811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ены трубные пучки Т-206,</a:t>
                      </a:r>
                      <a:r>
                        <a:rPr lang="ru-RU" sz="1200" baseline="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Т-208</a:t>
                      </a:r>
                      <a:endParaRPr lang="ru-RU" sz="1200" dirty="0" smtClean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ППН, С-20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РМУ»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статического 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077895"/>
                  </a:ext>
                </a:extLst>
              </a:tr>
              <a:tr h="549527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ены горелки печей П-204, П-203/3,</a:t>
                      </a:r>
                    </a:p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-101</a:t>
                      </a:r>
                      <a:r>
                        <a:rPr lang="en-US" sz="1200" baseline="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200" baseline="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щее количество 21шт.) </a:t>
                      </a:r>
                      <a:endParaRPr lang="ru-RU" sz="1200" dirty="0" smtClean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ППН, С-100, 20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VC Production»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статического 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8845234"/>
                  </a:ext>
                </a:extLst>
              </a:tr>
              <a:tr h="367973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Техническое</a:t>
                      </a:r>
                      <a:r>
                        <a:rPr lang="ru-RU" sz="1200" baseline="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обслуживание шиберных задвижек </a:t>
                      </a:r>
                      <a:r>
                        <a:rPr lang="en-US" sz="1200" baseline="0" dirty="0" err="1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mosa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, С-20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VC GROUP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статического 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155962"/>
                  </a:ext>
                </a:extLst>
              </a:tr>
              <a:tr h="362972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вод в эксплуатацию </a:t>
                      </a:r>
                      <a:r>
                        <a:rPr lang="ru-RU" sz="1200" dirty="0" err="1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азосепаратора</a:t>
                      </a: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ГС-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, С-10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«МегаСтройПлюс»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динамического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2161640"/>
                  </a:ext>
                </a:extLst>
              </a:tr>
              <a:tr h="386648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ён синхронный электродвигатель СДКП2 мощностью 2000 кВт 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, КС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усЭлПром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динамического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667441"/>
                  </a:ext>
                </a:extLst>
              </a:tr>
              <a:tr h="411864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ены </a:t>
                      </a:r>
                      <a:r>
                        <a:rPr lang="ru-RU" sz="1200" dirty="0" err="1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алопоточные</a:t>
                      </a: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ппараты воздушного охлаждения ХВ-601 (10ед.)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, С-00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МегаСтройПлюс»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статического 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782679"/>
                  </a:ext>
                </a:extLst>
              </a:tr>
              <a:tr h="367973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Заменены трубные пучки Т-209/1, Т-403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ГПН,</a:t>
                      </a:r>
                      <a:r>
                        <a:rPr lang="ru-RU" sz="1200" baseline="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С-200, С-40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МегаСтройПлюс»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статического 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671"/>
                  </a:ext>
                </a:extLst>
              </a:tr>
              <a:tr h="36297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1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визия,</a:t>
                      </a:r>
                      <a:r>
                        <a:rPr lang="ru-RU" sz="1200" baseline="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емонт запорной арматуры, СППК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 заводу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тал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Сервис»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статического 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308927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1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108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9509" y="92521"/>
            <a:ext cx="2254219" cy="53206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35130" y="173885"/>
            <a:ext cx="75518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УКРУПНЕННЫЙ ПЕРЕЧЕНЬ РАБОТ ОСТАНОВОЧНОГО РЕМОНТА </a:t>
            </a:r>
            <a:endParaRPr lang="ru-RU" b="1" dirty="0">
              <a:solidFill>
                <a:prstClr val="white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235130" y="940528"/>
          <a:ext cx="11599819" cy="35956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882">
                  <a:extLst>
                    <a:ext uri="{9D8B030D-6E8A-4147-A177-3AD203B41FA5}">
                      <a16:colId xmlns:a16="http://schemas.microsoft.com/office/drawing/2014/main" val="1269785305"/>
                    </a:ext>
                  </a:extLst>
                </a:gridCol>
                <a:gridCol w="3643914">
                  <a:extLst>
                    <a:ext uri="{9D8B030D-6E8A-4147-A177-3AD203B41FA5}">
                      <a16:colId xmlns:a16="http://schemas.microsoft.com/office/drawing/2014/main" val="1622541973"/>
                    </a:ext>
                  </a:extLst>
                </a:gridCol>
                <a:gridCol w="1529924">
                  <a:extLst>
                    <a:ext uri="{9D8B030D-6E8A-4147-A177-3AD203B41FA5}">
                      <a16:colId xmlns:a16="http://schemas.microsoft.com/office/drawing/2014/main" val="3622271196"/>
                    </a:ext>
                  </a:extLst>
                </a:gridCol>
                <a:gridCol w="2519561">
                  <a:extLst>
                    <a:ext uri="{9D8B030D-6E8A-4147-A177-3AD203B41FA5}">
                      <a16:colId xmlns:a16="http://schemas.microsoft.com/office/drawing/2014/main" val="239386650"/>
                    </a:ext>
                  </a:extLst>
                </a:gridCol>
                <a:gridCol w="3644538">
                  <a:extLst>
                    <a:ext uri="{9D8B030D-6E8A-4147-A177-3AD203B41FA5}">
                      <a16:colId xmlns:a16="http://schemas.microsoft.com/office/drawing/2014/main" val="1020396578"/>
                    </a:ext>
                  </a:extLst>
                </a:gridCol>
              </a:tblGrid>
              <a:tr h="39974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 Наименование работ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оизводство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сполнитель</a:t>
                      </a: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абот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имечание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50072"/>
                  </a:ext>
                </a:extLst>
              </a:tr>
              <a:tr h="634414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емонт</a:t>
                      </a:r>
                      <a:r>
                        <a:rPr lang="ru-RU" sz="1200" baseline="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насосно-компрессорного оборудования (77 ед.)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 заводу</a:t>
                      </a: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тал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Сервис»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динамического</a:t>
                      </a:r>
                    </a:p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орудования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54015"/>
                  </a:ext>
                </a:extLst>
              </a:tr>
              <a:tr h="328528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Замена электродвигателя мощностью 2000 кВт компрессора ПК-101-1 водородной компрессорной</a:t>
                      </a:r>
                      <a:endParaRPr lang="ru-RU" sz="12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ГПН</a:t>
                      </a:r>
                      <a:endParaRPr lang="ru-RU" sz="12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ergy Service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VL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»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АЭК»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ограмма замены электродвигателей компрессоров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1377746"/>
                  </a:ext>
                </a:extLst>
              </a:tr>
              <a:tr h="363108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онтаж, подключение </a:t>
                      </a:r>
                      <a:r>
                        <a:rPr lang="en-US" sz="1200" b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1200" b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овых цифровых шкафов возбуждения электродвигателей ЦК-201-1</a:t>
                      </a:r>
                      <a:r>
                        <a:rPr lang="en-US" sz="1200" b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; </a:t>
                      </a:r>
                      <a:r>
                        <a:rPr lang="ru-RU" sz="1200" b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ЦК-201-3 воздушной компрессорной</a:t>
                      </a:r>
                      <a:endParaRPr lang="ru-RU" sz="12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ГПН</a:t>
                      </a:r>
                      <a:endParaRPr lang="ru-RU" sz="12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ergy Service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VL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надежности электроснабжения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672114"/>
                  </a:ext>
                </a:extLst>
              </a:tr>
              <a:tr h="516685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несение антикоррозионной защиты</a:t>
                      </a:r>
                    </a:p>
                    <a:p>
                      <a:pPr algn="l"/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уара Р-2 П29-2 (</a:t>
                      </a:r>
                      <a:r>
                        <a:rPr lang="en-US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V-</a:t>
                      </a: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0 000</a:t>
                      </a: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3), Р-1 П29-1 (</a:t>
                      </a:r>
                      <a:r>
                        <a:rPr lang="en-US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V-20 000</a:t>
                      </a: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3) 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КОН</a:t>
                      </a:r>
                    </a:p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ОО </a:t>
                      </a:r>
                      <a:r>
                        <a:rPr lang="en-US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AVC Production</a:t>
                      </a: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ОО АЗИЯ </a:t>
                      </a:r>
                      <a:r>
                        <a:rPr lang="en-US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Incorporated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кращение потерь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417065"/>
                  </a:ext>
                </a:extLst>
              </a:tr>
              <a:tr h="393811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роведение сервисного обслуживания</a:t>
                      </a:r>
                      <a:r>
                        <a:rPr lang="en-US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бурового насоса Н-20Б УЗК</a:t>
                      </a: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ПТНО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ОО </a:t>
                      </a:r>
                      <a:r>
                        <a:rPr lang="en-US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IL FACTOR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езаварийная</a:t>
                      </a:r>
                      <a:r>
                        <a:rPr lang="ru-RU" sz="1200" baseline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работа</a:t>
                      </a:r>
                      <a:endParaRPr lang="ru-RU" sz="1200" dirty="0" smtClean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1077895"/>
                  </a:ext>
                </a:extLst>
              </a:tr>
              <a:tr h="429083">
                <a:tc>
                  <a:txBody>
                    <a:bodyPr/>
                    <a:lstStyle/>
                    <a:p>
                      <a:pPr algn="ctr"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конструкция ограждения территории южной стороны</a:t>
                      </a:r>
                      <a:endParaRPr lang="ru-RU" sz="1200" dirty="0" smtClean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 заводу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245" marR="5245" marT="524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ОО </a:t>
                      </a:r>
                      <a:r>
                        <a:rPr lang="ru-RU" sz="1200" dirty="0" err="1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тройАльянсИнвест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вышение безопасности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884523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7658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197949" y="195225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ТЕХНИЧЕСКИЕ РЕШЕНИЯ ПО ПРОИЗВОДСТВАМ 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3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3179477"/>
              </p:ext>
            </p:extLst>
          </p:nvPr>
        </p:nvGraphicFramePr>
        <p:xfrm>
          <a:off x="757696" y="945145"/>
          <a:ext cx="3667563" cy="2180253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2352408">
                  <a:extLst>
                    <a:ext uri="{9D8B030D-6E8A-4147-A177-3AD203B41FA5}">
                      <a16:colId xmlns:a16="http://schemas.microsoft.com/office/drawing/2014/main" val="3804136378"/>
                    </a:ext>
                  </a:extLst>
                </a:gridCol>
                <a:gridCol w="1315155">
                  <a:extLst>
                    <a:ext uri="{9D8B030D-6E8A-4147-A177-3AD203B41FA5}">
                      <a16:colId xmlns:a16="http://schemas.microsoft.com/office/drawing/2014/main" val="630293024"/>
                    </a:ext>
                  </a:extLst>
                </a:gridCol>
              </a:tblGrid>
              <a:tr h="44499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роизводство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18852" marR="18852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852" marR="18852" marT="725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6770355"/>
                  </a:ext>
                </a:extLst>
              </a:tr>
              <a:tr h="2892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ППН</a:t>
                      </a:r>
                    </a:p>
                  </a:txBody>
                  <a:tcPr marL="72000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06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453183"/>
                  </a:ext>
                </a:extLst>
              </a:tr>
              <a:tr h="2892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КОН</a:t>
                      </a:r>
                    </a:p>
                  </a:txBody>
                  <a:tcPr marL="72000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2206" marR="52206" marT="725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9738161"/>
                  </a:ext>
                </a:extLst>
              </a:tr>
              <a:tr h="2892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ГПН</a:t>
                      </a:r>
                    </a:p>
                  </a:txBody>
                  <a:tcPr marL="7200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5361903"/>
                  </a:ext>
                </a:extLst>
              </a:tr>
              <a:tr h="2892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1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ПТНО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7200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2819944"/>
                  </a:ext>
                </a:extLst>
              </a:tr>
              <a:tr h="2892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СиОЗХ</a:t>
                      </a:r>
                    </a:p>
                  </a:txBody>
                  <a:tcPr marL="7200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655587"/>
                  </a:ext>
                </a:extLst>
              </a:tr>
              <a:tr h="2892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Arial" panose="020B0604020202020204" pitchFamily="34" charset="0"/>
                        </a:rPr>
                        <a:t>ПСН</a:t>
                      </a:r>
                    </a:p>
                  </a:txBody>
                  <a:tcPr marL="7200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8949051"/>
                  </a:ext>
                </a:extLst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4320863" y="3212434"/>
            <a:ext cx="38301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Монтаж массовых расходомеров (ПППН№1)</a:t>
            </a:r>
          </a:p>
          <a:p>
            <a:pPr algn="ctr"/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(корректность учета газообразного топлива)</a:t>
            </a:r>
          </a:p>
          <a:p>
            <a:pPr algn="ctr"/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60976" y="3154132"/>
            <a:ext cx="30286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вязка сепаратора ГС-1 (ПГПН№3)</a:t>
            </a:r>
          </a:p>
          <a:p>
            <a:pPr algn="ctr"/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(улучшение качества ЦВСГ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892204" y="6209319"/>
            <a:ext cx="27894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Оснащение </a:t>
            </a:r>
            <a:r>
              <a:rPr lang="ru-RU" sz="12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байпасными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трубопроводами Т-015 (ПСН№6)</a:t>
            </a:r>
            <a:r>
              <a:rPr lang="ru-RU" sz="1200" i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(увеличение надежности)</a:t>
            </a:r>
          </a:p>
          <a:p>
            <a:pPr algn="ctr"/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373266" y="6340740"/>
            <a:ext cx="27894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мена Т-017 на Х-408 (ПСН№6)</a:t>
            </a:r>
          </a:p>
          <a:p>
            <a:pPr algn="ctr"/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(увеличение надежности)</a:t>
            </a:r>
          </a:p>
          <a:p>
            <a:pPr algn="ctr"/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439" y="3749809"/>
            <a:ext cx="2654946" cy="2470103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55"/>
          <a:stretch/>
        </p:blipFill>
        <p:spPr>
          <a:xfrm>
            <a:off x="5007068" y="926979"/>
            <a:ext cx="2647817" cy="2234771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51" r="26200" b="16401"/>
          <a:stretch/>
        </p:blipFill>
        <p:spPr>
          <a:xfrm>
            <a:off x="8620386" y="3741571"/>
            <a:ext cx="2363577" cy="2490761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58132" y="3927211"/>
            <a:ext cx="2459511" cy="2088232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659963" y="837753"/>
            <a:ext cx="2284420" cy="2363577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6" name="Прямоугольник 25"/>
          <p:cNvSpPr/>
          <p:nvPr/>
        </p:nvSpPr>
        <p:spPr>
          <a:xfrm>
            <a:off x="757696" y="6170925"/>
            <a:ext cx="33490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тимизация контура </a:t>
            </a:r>
            <a:r>
              <a:rPr lang="ru-RU" sz="1200" dirty="0" err="1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холаживания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отельного топлива</a:t>
            </a:r>
            <a:r>
              <a:rPr lang="en-US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ПГПН№3</a:t>
            </a:r>
            <a:r>
              <a:rPr lang="ru-RU" sz="1200" dirty="0" smtClean="0"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 (охлаждение ГО ВГО при выводе в парк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5048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202798" y="41336"/>
            <a:ext cx="93179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МОНТЫ НАСОСНО-КОМПРЕССОРНОГО ОБОРУДОВАНИЯ, </a:t>
            </a:r>
            <a:endParaRPr lang="en-US" b="1" dirty="0" smtClean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ВЕДЁННЫЕ В ОСТАНОВОЧНЫЙ ПЕРИОД 2022 г.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4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00896" y="931054"/>
            <a:ext cx="54142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imes New Roman" panose="02020603050405020304" pitchFamily="18" charset="0"/>
              </a:rPr>
              <a:t>КОЛИЧЕСТВО РЕМОНТОВ НАСОСНО-КОМПРЕССОРНОГО ОБОРУДОВАНИЯ 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8" name="Диаграмма 37"/>
          <p:cNvGraphicFramePr/>
          <p:nvPr>
            <p:extLst>
              <p:ext uri="{D42A27DB-BD31-4B8C-83A1-F6EECF244321}">
                <p14:modId xmlns:p14="http://schemas.microsoft.com/office/powerpoint/2010/main" val="3786208679"/>
              </p:ext>
            </p:extLst>
          </p:nvPr>
        </p:nvGraphicFramePr>
        <p:xfrm>
          <a:off x="877845" y="1520090"/>
          <a:ext cx="4260332" cy="3762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9" name="Диаграмма 38"/>
          <p:cNvGraphicFramePr/>
          <p:nvPr>
            <p:extLst>
              <p:ext uri="{D42A27DB-BD31-4B8C-83A1-F6EECF244321}">
                <p14:modId xmlns:p14="http://schemas.microsoft.com/office/powerpoint/2010/main" val="3064429713"/>
              </p:ext>
            </p:extLst>
          </p:nvPr>
        </p:nvGraphicFramePr>
        <p:xfrm>
          <a:off x="6096175" y="1558665"/>
          <a:ext cx="4994419" cy="3723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5998893" y="951663"/>
            <a:ext cx="55741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imes New Roman" panose="02020603050405020304" pitchFamily="18" charset="0"/>
              </a:rPr>
              <a:t>КОЛИЧЕСТВО РЕМОНТОВ </a:t>
            </a:r>
            <a:r>
              <a:rPr lang="ru-RU" sz="1400" b="1" kern="0" dirty="0" smtClean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Times New Roman" panose="02020603050405020304" pitchFamily="18" charset="0"/>
              </a:rPr>
              <a:t>НАСОСНО-КОМПРЕССОРНОГО ОБОРУДОВАНИЯ 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imes New Roman" panose="02020603050405020304" pitchFamily="18" charset="0"/>
              </a:rPr>
              <a:t>ПО ПРОИЗВОДСТВАМ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770836" y="4955404"/>
            <a:ext cx="2448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ИТОГО:  77 ед.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85421" y="5639090"/>
            <a:ext cx="114992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latin typeface="Century Gothic" panose="020B0502020202020204" pitchFamily="34" charset="0"/>
                <a:ea typeface="Calibri" panose="020F0502020204030204" pitchFamily="34" charset="0"/>
              </a:rPr>
              <a:t>В остановочном периоде </a:t>
            </a:r>
            <a:r>
              <a:rPr lang="ru-RU" sz="14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2022</a:t>
            </a:r>
            <a:r>
              <a:rPr lang="en-US" sz="14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г</a:t>
            </a:r>
            <a:r>
              <a:rPr lang="ru-RU" sz="1400" dirty="0">
                <a:latin typeface="Century Gothic" panose="020B0502020202020204" pitchFamily="34" charset="0"/>
                <a:ea typeface="Calibri" panose="020F0502020204030204" pitchFamily="34" charset="0"/>
              </a:rPr>
              <a:t>. </a:t>
            </a:r>
            <a:r>
              <a:rPr lang="ru-RU" sz="14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были проведены ремонты всего 77 ед., в </a:t>
            </a:r>
            <a:r>
              <a:rPr lang="ru-RU" sz="1400" dirty="0" err="1" smtClean="0">
                <a:latin typeface="Century Gothic" panose="020B0502020202020204" pitchFamily="34" charset="0"/>
                <a:ea typeface="Calibri" panose="020F0502020204030204" pitchFamily="34" charset="0"/>
              </a:rPr>
              <a:t>т.ч</a:t>
            </a:r>
            <a:r>
              <a:rPr lang="ru-RU" sz="14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. компрессоров -11ед., насосов-66ед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Специалисты по динамическому оборудованию контролировали за качеством производства ремонтных работ и соблюдением требований нормативно-технической документации</a:t>
            </a:r>
            <a:endParaRPr lang="ru-RU" sz="1400" dirty="0"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662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121594" y="7656"/>
            <a:ext cx="85940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КАЗАТЕЛИ НАДЕЖНОСТИ ФУНКЦИОНИРОВАНИЯ ОБОРУДОВАНИЯ И СКОРОСТИ КОРРОЗИИ 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73AB324-9469-4A19-8BE0-BCE4BD38CF6A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5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Chart 1">
            <a:extLst>
              <a:ext uri="{FF2B5EF4-FFF2-40B4-BE49-F238E27FC236}">
                <a16:creationId xmlns:a16="http://schemas.microsoft.com/office/drawing/2014/main" id="{7DF86624-804D-D3A9-2F80-51F95489BB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136695"/>
              </p:ext>
            </p:extLst>
          </p:nvPr>
        </p:nvGraphicFramePr>
        <p:xfrm>
          <a:off x="510133" y="3833205"/>
          <a:ext cx="4804817" cy="2748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1">
            <a:extLst>
              <a:ext uri="{FF2B5EF4-FFF2-40B4-BE49-F238E27FC236}">
                <a16:creationId xmlns:a16="http://schemas.microsoft.com/office/drawing/2014/main" id="{950FB4A3-5C73-49F1-9614-CCE0FBF98C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7270400"/>
              </p:ext>
            </p:extLst>
          </p:nvPr>
        </p:nvGraphicFramePr>
        <p:xfrm>
          <a:off x="6293759" y="3833204"/>
          <a:ext cx="5460091" cy="3009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13ED9F63-3CA7-69AB-4D38-5937D0389642}"/>
              </a:ext>
            </a:extLst>
          </p:cNvPr>
          <p:cNvGrpSpPr/>
          <p:nvPr/>
        </p:nvGrpSpPr>
        <p:grpSpPr>
          <a:xfrm>
            <a:off x="699233" y="963843"/>
            <a:ext cx="4895261" cy="2391249"/>
            <a:chOff x="173812" y="55060"/>
            <a:chExt cx="7470879" cy="3268594"/>
          </a:xfrm>
        </p:grpSpPr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ACA08275-1182-8C7A-E7E0-1EF9055F8602}"/>
                </a:ext>
              </a:extLst>
            </p:cNvPr>
            <p:cNvGrpSpPr/>
            <p:nvPr/>
          </p:nvGrpSpPr>
          <p:grpSpPr>
            <a:xfrm>
              <a:off x="173812" y="55060"/>
              <a:ext cx="7470879" cy="3268594"/>
              <a:chOff x="156801" y="47628"/>
              <a:chExt cx="8062033" cy="2827411"/>
            </a:xfrm>
          </p:grpSpPr>
          <p:graphicFrame>
            <p:nvGraphicFramePr>
              <p:cNvPr id="20" name="Chart 4">
                <a:extLst>
                  <a:ext uri="{FF2B5EF4-FFF2-40B4-BE49-F238E27FC236}">
                    <a16:creationId xmlns:a16="http://schemas.microsoft.com/office/drawing/2014/main" id="{F2BACB80-332D-91D0-EE95-166E6F1AEEEC}"/>
                  </a:ext>
                </a:extLst>
              </p:cNvPr>
              <p:cNvGraphicFramePr>
                <a:graphicFrameLocks/>
              </p:cNvGraphicFramePr>
              <p:nvPr>
                <p:extLst/>
              </p:nvPr>
            </p:nvGraphicFramePr>
            <p:xfrm>
              <a:off x="156801" y="47628"/>
              <a:ext cx="7774938" cy="282741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graphicFrame>
            <p:nvGraphicFramePr>
              <p:cNvPr id="21" name="Chart 4">
                <a:extLst>
                  <a:ext uri="{FF2B5EF4-FFF2-40B4-BE49-F238E27FC236}">
                    <a16:creationId xmlns:a16="http://schemas.microsoft.com/office/drawing/2014/main" id="{530DD100-186D-FAC2-7956-A916AA6BE9A3}"/>
                  </a:ext>
                </a:extLst>
              </p:cNvPr>
              <p:cNvGraphicFramePr>
                <a:graphicFrameLocks/>
              </p:cNvGraphicFramePr>
              <p:nvPr>
                <p:extLst/>
              </p:nvPr>
            </p:nvGraphicFramePr>
            <p:xfrm>
              <a:off x="407844" y="503258"/>
              <a:ext cx="7810990" cy="218333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</p:grpSp>
        <p:sp>
          <p:nvSpPr>
            <p:cNvPr id="19" name="TextBox 13">
              <a:extLst>
                <a:ext uri="{FF2B5EF4-FFF2-40B4-BE49-F238E27FC236}">
                  <a16:creationId xmlns:a16="http://schemas.microsoft.com/office/drawing/2014/main" id="{16854038-6F07-6DFE-ADD8-6AE59A7FF128}"/>
                </a:ext>
              </a:extLst>
            </p:cNvPr>
            <p:cNvSpPr txBox="1"/>
            <p:nvPr/>
          </p:nvSpPr>
          <p:spPr>
            <a:xfrm>
              <a:off x="406447" y="599649"/>
              <a:ext cx="1262356" cy="303943"/>
            </a:xfrm>
            <a:prstGeom prst="rect">
              <a:avLst/>
            </a:prstGeom>
            <a:solidFill>
              <a:schemeClr val="lt1"/>
            </a:solidFill>
            <a:ln w="9525" cmpd="sng">
              <a:solidFill>
                <a:sysClr val="windowText" lastClr="000000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3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2022</a:t>
              </a:r>
              <a:endParaRPr lang="en-CA" sz="1300" b="1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>
          <a:xfrm>
            <a:off x="573170" y="820440"/>
            <a:ext cx="52004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НАДЕЖНОСТЬ ОБОРУДОВАНИЯ ПО ПРОИЗВОДСТВАМ, %</a:t>
            </a:r>
            <a:endParaRPr lang="en-CA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B2F73F32-4D89-40AB-A1B1-4FBA11D67C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1428946"/>
              </p:ext>
            </p:extLst>
          </p:nvPr>
        </p:nvGraphicFramePr>
        <p:xfrm>
          <a:off x="6557554" y="725688"/>
          <a:ext cx="5501541" cy="2629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" name="Прямоугольник 23"/>
          <p:cNvSpPr/>
          <p:nvPr/>
        </p:nvSpPr>
        <p:spPr>
          <a:xfrm>
            <a:off x="524909" y="3235187"/>
            <a:ext cx="115341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За </a:t>
            </a:r>
            <a:r>
              <a:rPr lang="en-US" sz="14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I-</a:t>
            </a:r>
            <a:r>
              <a:rPr lang="ru-RU" sz="14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е полугодие 2022г. выполнены запланированные целевые показатели обеспечения надежности функционирования оборудования по производствам.  </a:t>
            </a:r>
            <a:endParaRPr lang="ru-RU" sz="1400" dirty="0"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243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172213" y="171161"/>
            <a:ext cx="94204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ТАТУС ВЫПОЛНЕНИЯ РАБОТ ПО ПРОЕКТАМ ДЕПАРТАМЕНТА </a:t>
            </a:r>
            <a:r>
              <a:rPr lang="ru-RU" b="1" dirty="0" err="1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НиМЦ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А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6DA4AC6-6878-4352-80AF-BD168413CC4F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6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9">
            <a:extLst>
              <a:ext uri="{FF2B5EF4-FFF2-40B4-BE49-F238E27FC236}">
                <a16:creationId xmlns:a16="http://schemas.microsoft.com/office/drawing/2014/main" id="{54FA109E-4CA5-AD66-9BF5-0606A910A9EE}"/>
              </a:ext>
            </a:extLst>
          </p:cNvPr>
          <p:cNvGrpSpPr/>
          <p:nvPr/>
        </p:nvGrpSpPr>
        <p:grpSpPr>
          <a:xfrm>
            <a:off x="365186" y="3830178"/>
            <a:ext cx="11350564" cy="2286000"/>
            <a:chOff x="-428539" y="-1"/>
            <a:chExt cx="9905915" cy="4267717"/>
          </a:xfrm>
        </p:grpSpPr>
        <p:graphicFrame>
          <p:nvGraphicFramePr>
            <p:cNvPr id="9" name="Chart 56">
              <a:extLst>
                <a:ext uri="{FF2B5EF4-FFF2-40B4-BE49-F238E27FC236}">
                  <a16:creationId xmlns:a16="http://schemas.microsoft.com/office/drawing/2014/main" id="{676204FB-5F11-1EFD-F3E2-DAF05E7DE15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086770786"/>
                </p:ext>
              </p:extLst>
            </p:nvPr>
          </p:nvGraphicFramePr>
          <p:xfrm>
            <a:off x="5114926" y="-1"/>
            <a:ext cx="4362450" cy="423475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4" name="Chart 55">
              <a:extLst>
                <a:ext uri="{FF2B5EF4-FFF2-40B4-BE49-F238E27FC236}">
                  <a16:creationId xmlns:a16="http://schemas.microsoft.com/office/drawing/2014/main" id="{5D52A580-56B9-837A-0AD0-C42DA05B4572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55479152"/>
                </p:ext>
              </p:extLst>
            </p:nvPr>
          </p:nvGraphicFramePr>
          <p:xfrm>
            <a:off x="-428539" y="13737"/>
            <a:ext cx="5275741" cy="42539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10" name="Прямоугольник 9"/>
          <p:cNvSpPr/>
          <p:nvPr/>
        </p:nvSpPr>
        <p:spPr>
          <a:xfrm>
            <a:off x="306944" y="6168708"/>
            <a:ext cx="114795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В рамках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заключенного договора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с ТОО «</a:t>
            </a:r>
            <a:r>
              <a:rPr lang="en-US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MG Engineering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» ведутся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проектные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и изыскательские работы на разработку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проекта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«Подбор и установка компрессоров жирного газа компрессорной станции КТ-1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ПГПН. На текущий момент завершены работы по трем этапам договора. Проект передан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на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прохождение комплексной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вневедомственной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экспертизы. </a:t>
            </a:r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289778" y="697527"/>
            <a:ext cx="11496675" cy="3033994"/>
            <a:chOff x="232454" y="1424445"/>
            <a:chExt cx="11475621" cy="3461555"/>
          </a:xfrm>
        </p:grpSpPr>
        <p:grpSp>
          <p:nvGrpSpPr>
            <p:cNvPr id="15" name="Group 53">
              <a:extLst>
                <a:ext uri="{FF2B5EF4-FFF2-40B4-BE49-F238E27FC236}">
                  <a16:creationId xmlns:a16="http://schemas.microsoft.com/office/drawing/2014/main" id="{39C78B32-44A0-4424-8017-C2222D10A042}"/>
                </a:ext>
              </a:extLst>
            </p:cNvPr>
            <p:cNvGrpSpPr/>
            <p:nvPr/>
          </p:nvGrpSpPr>
          <p:grpSpPr>
            <a:xfrm>
              <a:off x="307724" y="1424445"/>
              <a:ext cx="11112526" cy="3178943"/>
              <a:chOff x="-1124837" y="449371"/>
              <a:chExt cx="11765407" cy="3019996"/>
            </a:xfrm>
          </p:grpSpPr>
          <p:graphicFrame>
            <p:nvGraphicFramePr>
              <p:cNvPr id="17" name="Chart 56">
                <a:extLst>
                  <a:ext uri="{FF2B5EF4-FFF2-40B4-BE49-F238E27FC236}">
                    <a16:creationId xmlns:a16="http://schemas.microsoft.com/office/drawing/2014/main" id="{6750D8D9-80F1-1F33-8186-EEDC02D4EFD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589189178"/>
                  </p:ext>
                </p:extLst>
              </p:nvPr>
            </p:nvGraphicFramePr>
            <p:xfrm>
              <a:off x="4437482" y="566097"/>
              <a:ext cx="6203088" cy="290327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graphicFrame>
            <p:nvGraphicFramePr>
              <p:cNvPr id="18" name="Chart 55">
                <a:extLst>
                  <a:ext uri="{FF2B5EF4-FFF2-40B4-BE49-F238E27FC236}">
                    <a16:creationId xmlns:a16="http://schemas.microsoft.com/office/drawing/2014/main" id="{2F45B797-ACBD-0510-6FC8-4DC283CEA892}"/>
                  </a:ext>
                </a:extLst>
              </p:cNvPr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816600299"/>
                  </p:ext>
                </p:extLst>
              </p:nvPr>
            </p:nvGraphicFramePr>
            <p:xfrm>
              <a:off x="-1124837" y="449371"/>
              <a:ext cx="5548557" cy="256299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</p:grpSp>
        <p:sp>
          <p:nvSpPr>
            <p:cNvPr id="16" name="Прямоугольник 15"/>
            <p:cNvSpPr/>
            <p:nvPr/>
          </p:nvSpPr>
          <p:spPr>
            <a:xfrm>
              <a:off x="232454" y="4148586"/>
              <a:ext cx="11475621" cy="7374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200" dirty="0">
                  <a:latin typeface="Century Gothic" panose="020B0502020202020204" pitchFamily="34" charset="0"/>
                  <a:ea typeface="Calibri" panose="020F0502020204030204" pitchFamily="34" charset="0"/>
                </a:rPr>
                <a:t>Завершены проектные </a:t>
              </a:r>
              <a:r>
                <a:rPr lang="ru-RU" sz="1200" dirty="0" smtClean="0">
                  <a:latin typeface="Century Gothic" panose="020B0502020202020204" pitchFamily="34" charset="0"/>
                  <a:ea typeface="Calibri" panose="020F0502020204030204" pitchFamily="34" charset="0"/>
                </a:rPr>
                <a:t>и изыскательские </a:t>
              </a:r>
              <a:r>
                <a:rPr lang="ru-RU" sz="1200" dirty="0">
                  <a:latin typeface="Century Gothic" panose="020B0502020202020204" pitchFamily="34" charset="0"/>
                  <a:ea typeface="Calibri" panose="020F0502020204030204" pitchFamily="34" charset="0"/>
                </a:rPr>
                <a:t>работы </a:t>
              </a:r>
              <a:r>
                <a:rPr lang="ru-RU" sz="1200" dirty="0" smtClean="0">
                  <a:latin typeface="Century Gothic" panose="020B0502020202020204" pitchFamily="34" charset="0"/>
                  <a:ea typeface="Calibri" panose="020F0502020204030204" pitchFamily="34" charset="0"/>
                </a:rPr>
                <a:t>с прохождением «</a:t>
              </a:r>
              <a:r>
                <a:rPr lang="ru-RU" sz="1200" dirty="0" err="1" smtClean="0">
                  <a:latin typeface="Century Gothic" panose="020B0502020202020204" pitchFamily="34" charset="0"/>
                  <a:ea typeface="Calibri" panose="020F0502020204030204" pitchFamily="34" charset="0"/>
                </a:rPr>
                <a:t>Гос.экспертизы</a:t>
              </a:r>
              <a:r>
                <a:rPr lang="ru-RU" sz="1200" dirty="0" smtClean="0">
                  <a:latin typeface="Century Gothic" panose="020B0502020202020204" pitchFamily="34" charset="0"/>
                  <a:ea typeface="Calibri" panose="020F0502020204030204" pitchFamily="34" charset="0"/>
                </a:rPr>
                <a:t>» рабочего </a:t>
              </a:r>
              <a:r>
                <a:rPr lang="ru-RU" sz="1200" dirty="0">
                  <a:latin typeface="Century Gothic" panose="020B0502020202020204" pitchFamily="34" charset="0"/>
                  <a:ea typeface="Calibri" panose="020F0502020204030204" pitchFamily="34" charset="0"/>
                </a:rPr>
                <a:t>проекта по замене поршневых компрессоров Поз. К-2, К-3, К-4, К-5 воздушной компрессорной </a:t>
              </a:r>
              <a:r>
                <a:rPr lang="ru-RU" sz="1200" dirty="0" smtClean="0">
                  <a:latin typeface="Century Gothic" panose="020B0502020202020204" pitchFamily="34" charset="0"/>
                  <a:ea typeface="Calibri" panose="020F0502020204030204" pitchFamily="34" charset="0"/>
                </a:rPr>
                <a:t>станции. Получено одобрение от КМГ о реализации проекта. В настоящее время ведется работа по подготовке необходимых документов для начала проведения закупочных процедур.  </a:t>
              </a:r>
              <a:endParaRPr lang="ru-RU" sz="1200" dirty="0">
                <a:latin typeface="Century Gothic" panose="020B0502020202020204" pitchFamily="34" charset="0"/>
                <a:ea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462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307301" y="179836"/>
            <a:ext cx="93179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ТРЕБЛЕНИЕ ЭНЕРГОРЕСУРСОВ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7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050456" y="793922"/>
            <a:ext cx="80910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cap="all" dirty="0">
                <a:ln w="3175" cmpd="sng">
                  <a:noFill/>
                </a:ln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Потребление энергоресурсов ТОО «ПНХЗ»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800874"/>
              </p:ext>
            </p:extLst>
          </p:nvPr>
        </p:nvGraphicFramePr>
        <p:xfrm>
          <a:off x="1028403" y="3308818"/>
          <a:ext cx="10135193" cy="2600837"/>
        </p:xfrm>
        <a:graphic>
          <a:graphicData uri="http://schemas.openxmlformats.org/drawingml/2006/table">
            <a:tbl>
              <a:tblPr firstRow="1"/>
              <a:tblGrid>
                <a:gridCol w="664073">
                  <a:extLst>
                    <a:ext uri="{9D8B030D-6E8A-4147-A177-3AD203B41FA5}">
                      <a16:colId xmlns:a16="http://schemas.microsoft.com/office/drawing/2014/main" val="2492729567"/>
                    </a:ext>
                  </a:extLst>
                </a:gridCol>
                <a:gridCol w="4294002">
                  <a:extLst>
                    <a:ext uri="{9D8B030D-6E8A-4147-A177-3AD203B41FA5}">
                      <a16:colId xmlns:a16="http://schemas.microsoft.com/office/drawing/2014/main" val="3052751148"/>
                    </a:ext>
                  </a:extLst>
                </a:gridCol>
                <a:gridCol w="1416279">
                  <a:extLst>
                    <a:ext uri="{9D8B030D-6E8A-4147-A177-3AD203B41FA5}">
                      <a16:colId xmlns:a16="http://schemas.microsoft.com/office/drawing/2014/main" val="2433426398"/>
                    </a:ext>
                  </a:extLst>
                </a:gridCol>
                <a:gridCol w="1268361">
                  <a:extLst>
                    <a:ext uri="{9D8B030D-6E8A-4147-A177-3AD203B41FA5}">
                      <a16:colId xmlns:a16="http://schemas.microsoft.com/office/drawing/2014/main" val="1911151879"/>
                    </a:ext>
                  </a:extLst>
                </a:gridCol>
                <a:gridCol w="2492478">
                  <a:extLst>
                    <a:ext uri="{9D8B030D-6E8A-4147-A177-3AD203B41FA5}">
                      <a16:colId xmlns:a16="http://schemas.microsoft.com/office/drawing/2014/main" val="143674280"/>
                    </a:ext>
                  </a:extLst>
                </a:gridCol>
              </a:tblGrid>
              <a:tr h="394335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ид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э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ергоресурса</a:t>
                      </a: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1 год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2 год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инамика  потребления, %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576904"/>
                  </a:ext>
                </a:extLst>
              </a:tr>
              <a:tr h="14544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Объем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переработки нефти</a:t>
                      </a: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тонн</a:t>
                      </a:r>
                      <a:endParaRPr lang="ru-RU" sz="1200" b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 883 179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 871 794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0,4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5713692"/>
                  </a:ext>
                </a:extLst>
              </a:tr>
              <a:tr h="145441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епловая энергия, Гкал, в том числе:</a:t>
                      </a:r>
                      <a:endParaRPr lang="ru-RU" sz="1200" b="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869 764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858 806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,2 %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6656982"/>
                  </a:ext>
                </a:extLst>
              </a:tr>
              <a:tr h="26564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 от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ТЭЦ-3, УПВ «ЭЛМТГ»</a:t>
                      </a:r>
                      <a:endParaRPr lang="ru-RU" sz="1200" b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09 151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73 594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aseline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8,6 </a:t>
                      </a: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5854030"/>
                  </a:ext>
                </a:extLst>
              </a:tr>
              <a:tr h="26564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 собственной выработки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60 613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85 212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5925323"/>
                  </a:ext>
                </a:extLst>
              </a:tr>
              <a:tr h="268920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опливо технологических печей, тут</a:t>
                      </a:r>
                      <a:endParaRPr lang="ru-RU" sz="1200" b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62 931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52 676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,9 %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333597"/>
                  </a:ext>
                </a:extLst>
              </a:tr>
              <a:tr h="296014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rgbClr val="2F5597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 dirty="0">
                        <a:solidFill>
                          <a:srgbClr val="2F5597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Электроэнергия,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МВт*ч</a:t>
                      </a:r>
                      <a:endParaRPr lang="ru-RU" sz="1200" b="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45 015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47 269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0,9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0346494"/>
                  </a:ext>
                </a:extLst>
              </a:tr>
              <a:tr h="30368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200" b="1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lang="ru-RU" sz="1200" b="1" baseline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ТЭР, тут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54 513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53 223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0,8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1076980"/>
                  </a:ext>
                </a:extLst>
              </a:tr>
              <a:tr h="303682"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200" b="1" baseline="0" dirty="0" smtClean="0"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Удельное потребление ТЭР на тонну нефти, тут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3,6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3,3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3429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0,5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427" marR="76427" marT="34290" marB="3429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2947794864"/>
              </p:ext>
            </p:extLst>
          </p:nvPr>
        </p:nvGraphicFramePr>
        <p:xfrm>
          <a:off x="2575624" y="999498"/>
          <a:ext cx="7565921" cy="2309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1514338" y="6058693"/>
            <a:ext cx="99120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400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В 2022 году </a:t>
            </a:r>
            <a:r>
              <a:rPr lang="ru-RU" sz="1400" dirty="0" smtClean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общий </a:t>
            </a:r>
            <a:r>
              <a:rPr lang="ru-RU" sz="1400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объём потребления топливно-энергетических ресурсов снизился на 0,8</a:t>
            </a:r>
            <a:r>
              <a:rPr lang="ru-RU" sz="1400" dirty="0" smtClean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%,</a:t>
            </a:r>
          </a:p>
          <a:p>
            <a:pPr indent="180975" algn="just"/>
            <a:r>
              <a:rPr lang="ru-RU" sz="1400" dirty="0" smtClean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удельное </a:t>
            </a:r>
            <a:r>
              <a:rPr lang="ru-RU" sz="1400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потребление энергоресурсов на переработку одной тонны нефти </a:t>
            </a:r>
            <a:r>
              <a:rPr lang="ru-RU" sz="1400" dirty="0" smtClean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снизилось </a:t>
            </a:r>
            <a:r>
              <a:rPr lang="ru-RU" sz="1400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на 0,5 %.</a:t>
            </a:r>
          </a:p>
        </p:txBody>
      </p:sp>
      <p:cxnSp>
        <p:nvCxnSpPr>
          <p:cNvPr id="18" name="Прямая со стрелкой 17"/>
          <p:cNvCxnSpPr/>
          <p:nvPr/>
        </p:nvCxnSpPr>
        <p:spPr>
          <a:xfrm>
            <a:off x="10246551" y="5649584"/>
            <a:ext cx="2902" cy="186359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7518713" y="1714148"/>
            <a:ext cx="288032" cy="13036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extBox 1"/>
          <p:cNvSpPr txBox="1"/>
          <p:nvPr/>
        </p:nvSpPr>
        <p:spPr>
          <a:xfrm>
            <a:off x="5286911" y="1844513"/>
            <a:ext cx="500167" cy="288024"/>
          </a:xfrm>
          <a:prstGeom prst="rect">
            <a:avLst/>
          </a:prstGeom>
          <a:ln>
            <a:noFill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,2%</a:t>
            </a:r>
          </a:p>
        </p:txBody>
      </p:sp>
      <p:cxnSp>
        <p:nvCxnSpPr>
          <p:cNvPr id="22" name="Прямая со стрелкой 21"/>
          <p:cNvCxnSpPr/>
          <p:nvPr/>
        </p:nvCxnSpPr>
        <p:spPr>
          <a:xfrm>
            <a:off x="10240747" y="4226917"/>
            <a:ext cx="2902" cy="186359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5030223" y="1869471"/>
            <a:ext cx="241731" cy="10285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V="1">
            <a:off x="10243649" y="5028176"/>
            <a:ext cx="2902" cy="19412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>
            <a:off x="10243649" y="4787900"/>
            <a:ext cx="0" cy="215231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10235585" y="3959222"/>
            <a:ext cx="2902" cy="186359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>
            <a:off x="10235585" y="3718946"/>
            <a:ext cx="2902" cy="186359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10246551" y="5339041"/>
            <a:ext cx="2902" cy="186359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flipV="1">
            <a:off x="10232683" y="4503527"/>
            <a:ext cx="2902" cy="194121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51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177862" y="179836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</a:rPr>
              <a:t>БЕЗОПАСНОСТЬ И ОХРАНА ТРУДА</a:t>
            </a: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531341" y="701353"/>
            <a:ext cx="11660659" cy="304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АНАЛИЗ ТРАВМАТИЗМА ЗА 6 МЕСЯЦЕВ 2022 ГОДА</a:t>
            </a:r>
            <a:endParaRPr lang="ru-RU" altLang="ru-RU" sz="1400" b="1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973426"/>
              </p:ext>
            </p:extLst>
          </p:nvPr>
        </p:nvGraphicFramePr>
        <p:xfrm>
          <a:off x="466186" y="998059"/>
          <a:ext cx="11213869" cy="6096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21266">
                  <a:extLst>
                    <a:ext uri="{9D8B030D-6E8A-4147-A177-3AD203B41FA5}">
                      <a16:colId xmlns:a16="http://schemas.microsoft.com/office/drawing/2014/main" val="1012008391"/>
                    </a:ext>
                  </a:extLst>
                </a:gridCol>
                <a:gridCol w="7392603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</a:tblGrid>
              <a:tr h="19546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Несчастные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</a:rPr>
                        <a:t> случаи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25427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Общее количество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</a:rPr>
                        <a:t> дней без несчастных случаев по состоянию на 01 июля 2022 года </a:t>
                      </a:r>
                      <a:r>
                        <a:rPr lang="ru-RU" sz="1600" b="1" baseline="0" dirty="0" smtClean="0">
                          <a:latin typeface="Century Gothic" panose="020B0502020202020204" pitchFamily="34" charset="0"/>
                        </a:rPr>
                        <a:t>1418</a:t>
                      </a:r>
                      <a:endParaRPr lang="ru-RU" sz="16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2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</a:tbl>
          </a:graphicData>
        </a:graphic>
      </p:graphicFrame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466185" y="1592107"/>
            <a:ext cx="1121386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АНАЛИЗ ЗАБОЛЕВАЕМОСТИ</a:t>
            </a:r>
            <a:endParaRPr lang="ru-RU" altLang="ru-RU" sz="1400" b="1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285154"/>
              </p:ext>
            </p:extLst>
          </p:nvPr>
        </p:nvGraphicFramePr>
        <p:xfrm>
          <a:off x="498090" y="1858198"/>
          <a:ext cx="11213868" cy="147893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6865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79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09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964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12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6184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92404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Период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работников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случаев заболеваний </a:t>
                      </a:r>
                      <a:endParaRPr lang="ru-RU" sz="1200" kern="1200" dirty="0" smtClean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а 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100 раб.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случаев заболеваний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дней </a:t>
                      </a:r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етрудоспособности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а 100 раб.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Количество дней </a:t>
                      </a:r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етрудоспособности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41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всего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в</a:t>
                      </a:r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т.ч.</a:t>
                      </a:r>
                      <a:b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200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женщин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8490" marR="8490" marT="6368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253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21 г.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1 466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41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3,95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498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81,10</a:t>
                      </a:r>
                      <a:endParaRPr lang="ru-RU" sz="1200" kern="1200" noProof="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5 587</a:t>
                      </a:r>
                      <a:endParaRPr lang="ru-RU" sz="1200" kern="1200" noProof="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641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22 г.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1 335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23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5,62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476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75,73</a:t>
                      </a:r>
                      <a:endParaRPr lang="ru-RU" sz="1200" kern="1200" noProof="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5 016</a:t>
                      </a:r>
                      <a:endParaRPr lang="ru-RU" sz="1200" kern="1200" noProof="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1403953"/>
                  </a:ext>
                </a:extLst>
              </a:tr>
              <a:tr h="30389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Показатели заболеваемости 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за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6 месяцев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2022 года 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относительно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уровня 2021 года: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- 131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- 118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j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+ 1,67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- 22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- 5,37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  <a:ea typeface="+mj-ea"/>
                          <a:cs typeface="Times New Roman" panose="02020603050405020304" pitchFamily="18" charset="0"/>
                        </a:rPr>
                        <a:t>- 571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257981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535572"/>
              </p:ext>
            </p:extLst>
          </p:nvPr>
        </p:nvGraphicFramePr>
        <p:xfrm>
          <a:off x="466186" y="3454006"/>
          <a:ext cx="11213868" cy="34658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213868">
                  <a:extLst>
                    <a:ext uri="{9D8B030D-6E8A-4147-A177-3AD203B41FA5}">
                      <a16:colId xmlns:a16="http://schemas.microsoft.com/office/drawing/2014/main" val="1012008391"/>
                    </a:ext>
                  </a:extLst>
                </a:gridCol>
              </a:tblGrid>
              <a:tr h="346582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i="0" dirty="0" smtClean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В настоящий момент ревакцинацию прошли 1174 работника ТОО «ПНХЗ», что составляет 86,3% от общего количества. </a:t>
                      </a:r>
                      <a:endParaRPr lang="ru-RU" sz="1400" b="0" i="0" dirty="0" smtClean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7714556"/>
                  </a:ext>
                </a:extLst>
              </a:tr>
            </a:tbl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8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0376609"/>
              </p:ext>
            </p:extLst>
          </p:nvPr>
        </p:nvGraphicFramePr>
        <p:xfrm>
          <a:off x="531341" y="4126148"/>
          <a:ext cx="11213869" cy="260281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7913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04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153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Мероприятия</a:t>
                      </a:r>
                      <a:endParaRPr lang="ru-RU" sz="1200" b="1" dirty="0">
                        <a:solidFill>
                          <a:srgbClr val="002060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сумма,  тыс. тенге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6 мес. 2022 года</a:t>
                      </a:r>
                      <a:endParaRPr lang="ru-RU" sz="1200" b="1" kern="1200" dirty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4957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Обеспечение молоком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10 597 ,9</a:t>
                      </a:r>
                      <a:endParaRPr lang="ru-RU" sz="1200" b="0" kern="1200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167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Затраты</a:t>
                      </a:r>
                      <a:r>
                        <a:rPr lang="ru-RU" sz="1200" kern="1200" baseline="0" dirty="0" smtClean="0">
                          <a:latin typeface="Century Gothic" panose="020B0502020202020204" pitchFamily="34" charset="0"/>
                        </a:rPr>
                        <a:t> на</a:t>
                      </a:r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 безопасность и охрану труд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</a:rPr>
                        <a:t>15 279,2</a:t>
                      </a:r>
                      <a:endParaRPr lang="ru-RU" sz="1200" b="1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957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Обучение, повышение квалификации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1 170,9</a:t>
                      </a:r>
                      <a:endParaRPr lang="ru-RU" sz="1200" b="0" kern="1200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167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Обеспечение специальной одеждой, СИЗ 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</a:rPr>
                        <a:t>107 021,4</a:t>
                      </a:r>
                      <a:endParaRPr lang="ru-RU" sz="1200" b="1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957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err="1" smtClean="0">
                          <a:latin typeface="Century Gothic" panose="020B0502020202020204" pitchFamily="34" charset="0"/>
                        </a:rPr>
                        <a:t>Мыломоющие</a:t>
                      </a:r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 и дезинфицирующие средств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7 570,1</a:t>
                      </a:r>
                      <a:endParaRPr lang="ru-RU" sz="1200" b="0" kern="1200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1447591"/>
                  </a:ext>
                </a:extLst>
              </a:tr>
              <a:tr h="171373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Аттестация рабочих мест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3768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Медицинский осмотр (в том числе затраты по исследованию</a:t>
                      </a:r>
                      <a:r>
                        <a:rPr lang="ru-RU" sz="1200" kern="1200" baseline="0" dirty="0" smtClean="0">
                          <a:latin typeface="Century Gothic" panose="020B0502020202020204" pitchFamily="34" charset="0"/>
                        </a:rPr>
                        <a:t> на выявление РНК вируса </a:t>
                      </a:r>
                      <a:r>
                        <a:rPr lang="en-US" sz="1200" kern="1200" baseline="0" dirty="0" smtClean="0">
                          <a:latin typeface="Century Gothic" panose="020B0502020202020204" pitchFamily="34" charset="0"/>
                        </a:rPr>
                        <a:t>COVID</a:t>
                      </a:r>
                      <a:r>
                        <a:rPr lang="ru-RU" sz="1200" kern="1200" baseline="0" dirty="0" smtClean="0">
                          <a:latin typeface="Century Gothic" panose="020B0502020202020204" pitchFamily="34" charset="0"/>
                        </a:rPr>
                        <a:t>-19</a:t>
                      </a:r>
                      <a:r>
                        <a:rPr lang="ru-RU" sz="1200" kern="1200" dirty="0" smtClean="0">
                          <a:latin typeface="Century Gothic" panose="020B0502020202020204" pitchFamily="34" charset="0"/>
                        </a:rPr>
                        <a:t>)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C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547,1</a:t>
                      </a:r>
                      <a:endParaRPr lang="ru-RU" sz="1200" b="0" kern="1200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3768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latin typeface="Century Gothic" panose="020B0502020202020204" pitchFamily="34" charset="0"/>
                        </a:rPr>
                        <a:t>Итого (фактические затраты):        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143 186,6</a:t>
                      </a:r>
                      <a:endParaRPr lang="ru-RU" sz="1200" b="1" kern="1200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45226" marB="45226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466186" y="3810730"/>
            <a:ext cx="11213868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РЕДСТВА, </a:t>
            </a:r>
            <a:r>
              <a:rPr lang="ru-RU" alt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ЗАТРАЧЕННЫЕ НА </a:t>
            </a:r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БЕЗОПАСНОСТЬ И ОХРАНУ ТРУДА</a:t>
            </a:r>
            <a:endParaRPr lang="ru-RU" altLang="ru-RU" sz="1400" b="1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7672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3112289"/>
              </p:ext>
            </p:extLst>
          </p:nvPr>
        </p:nvGraphicFramePr>
        <p:xfrm>
          <a:off x="92632" y="1082843"/>
          <a:ext cx="6595549" cy="171069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928530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  <a:gridCol w="1238871">
                  <a:extLst>
                    <a:ext uri="{9D8B030D-6E8A-4147-A177-3AD203B41FA5}">
                      <a16:colId xmlns:a16="http://schemas.microsoft.com/office/drawing/2014/main" val="241779084"/>
                    </a:ext>
                  </a:extLst>
                </a:gridCol>
                <a:gridCol w="1428148">
                  <a:extLst>
                    <a:ext uri="{9D8B030D-6E8A-4147-A177-3AD203B41FA5}">
                      <a16:colId xmlns:a16="http://schemas.microsoft.com/office/drawing/2014/main" val="3728639497"/>
                    </a:ext>
                  </a:extLst>
                </a:gridCol>
              </a:tblGrid>
              <a:tr h="587385">
                <a:tc gridSpan="3">
                  <a:txBody>
                    <a:bodyPr/>
                    <a:lstStyle/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altLang="ru-RU" sz="1200" b="1" cap="none" spc="0" baseline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Комплексные проверки </a:t>
                      </a:r>
                    </a:p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altLang="ru-RU" sz="1200" b="1" cap="none" spc="0" baseline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постоянно-действующими и пожарно-техническими комиссиями</a:t>
                      </a:r>
                      <a:endParaRPr lang="ru-RU" sz="1200" b="1" cap="none" spc="0" baseline="0" dirty="0">
                        <a:ln w="10160">
                          <a:noFill/>
                          <a:prstDash val="solid"/>
                        </a:ln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714556"/>
                  </a:ext>
                </a:extLst>
              </a:tr>
              <a:tr h="30762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Century Gothic" panose="020B0502020202020204" pitchFamily="34" charset="0"/>
                        </a:rPr>
                        <a:t>2021</a:t>
                      </a:r>
                      <a:endParaRPr lang="ru-RU" sz="1200" b="1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8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dirty="0" smtClean="0">
                          <a:latin typeface="Century Gothic" panose="020B0502020202020204" pitchFamily="34" charset="0"/>
                        </a:rPr>
                        <a:t>2022</a:t>
                      </a:r>
                      <a:endParaRPr lang="ru-RU" sz="1200" b="1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89294"/>
                  </a:ext>
                </a:extLst>
              </a:tr>
              <a:tr h="34606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Проведено 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7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  <a:tr h="332812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Количество несоответствий, выявленных при комплексных проверках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39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3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2287939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9992311"/>
              </p:ext>
            </p:extLst>
          </p:nvPr>
        </p:nvGraphicFramePr>
        <p:xfrm>
          <a:off x="92633" y="2965154"/>
          <a:ext cx="6595550" cy="126659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873188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  <a:gridCol w="1323700">
                  <a:extLst>
                    <a:ext uri="{9D8B030D-6E8A-4147-A177-3AD203B41FA5}">
                      <a16:colId xmlns:a16="http://schemas.microsoft.com/office/drawing/2014/main" val="3880461798"/>
                    </a:ext>
                  </a:extLst>
                </a:gridCol>
                <a:gridCol w="1398662">
                  <a:extLst>
                    <a:ext uri="{9D8B030D-6E8A-4147-A177-3AD203B41FA5}">
                      <a16:colId xmlns:a16="http://schemas.microsoft.com/office/drawing/2014/main" val="3034203973"/>
                    </a:ext>
                  </a:extLst>
                </a:gridCol>
              </a:tblGrid>
              <a:tr h="215514">
                <a:tc gridSpan="3"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r>
                        <a:rPr lang="ru-RU" sz="1200" b="1" u="none" strike="noStrike" kern="1200" cap="none" spc="0" baseline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uFillTx/>
                          <a:latin typeface="Century Gothic" panose="020B0502020202020204" pitchFamily="34" charset="0"/>
                        </a:rPr>
                        <a:t>Внутренние</a:t>
                      </a:r>
                      <a:r>
                        <a:rPr lang="ru-RU" sz="1200" b="1" u="none" strike="noStrike" kern="1200" cap="none" spc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uFillTx/>
                          <a:latin typeface="Century Gothic" panose="020B0502020202020204" pitchFamily="34" charset="0"/>
                        </a:rPr>
                        <a:t> це</a:t>
                      </a:r>
                      <a:r>
                        <a:rPr lang="ru-RU" sz="1200" b="1" u="none" strike="noStrike" kern="1200" cap="none" spc="0" baseline="0" dirty="0" smtClean="0">
                          <a:ln w="10160">
                            <a:noFill/>
                            <a:prstDash val="solid"/>
                          </a:ln>
                          <a:solidFill>
                            <a:srgbClr val="FFFFFF"/>
                          </a:solidFill>
                          <a:effectLst/>
                          <a:uFillTx/>
                          <a:latin typeface="Century Gothic" panose="020B0502020202020204" pitchFamily="34" charset="0"/>
                        </a:rPr>
                        <a:t>левые проверки в области безопасности и охраны труда</a:t>
                      </a:r>
                      <a:endParaRPr lang="ru-RU" sz="1200" b="1" cap="none" spc="0" dirty="0">
                        <a:ln w="10160">
                          <a:noFill/>
                          <a:prstDash val="solid"/>
                        </a:ln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714556"/>
                  </a:ext>
                </a:extLst>
              </a:tr>
              <a:tr h="174009">
                <a:tc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2021</a:t>
                      </a:r>
                      <a:endParaRPr lang="ru-RU" sz="1200" b="1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 sz="1800" b="0" i="0" u="none" strike="noStrike" kern="0" cap="none" spc="0" baseline="0">
                          <a:solidFill>
                            <a:srgbClr val="000000"/>
                          </a:solidFill>
                          <a:uFillTx/>
                        </a:defRPr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2022</a:t>
                      </a:r>
                      <a:endParaRPr lang="ru-RU" sz="1200" b="1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5688709"/>
                  </a:ext>
                </a:extLst>
              </a:tr>
              <a:tr h="320835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Выдано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</a:rPr>
                        <a:t> Указаний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3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3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397118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Общее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</a:rPr>
                        <a:t> количество несоответствий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87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69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3247435"/>
              </p:ext>
            </p:extLst>
          </p:nvPr>
        </p:nvGraphicFramePr>
        <p:xfrm>
          <a:off x="92632" y="4768896"/>
          <a:ext cx="6595549" cy="16916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30842">
                  <a:extLst>
                    <a:ext uri="{9D8B030D-6E8A-4147-A177-3AD203B41FA5}">
                      <a16:colId xmlns:a16="http://schemas.microsoft.com/office/drawing/2014/main" val="3154145268"/>
                    </a:ext>
                  </a:extLst>
                </a:gridCol>
                <a:gridCol w="706856">
                  <a:extLst>
                    <a:ext uri="{9D8B030D-6E8A-4147-A177-3AD203B41FA5}">
                      <a16:colId xmlns:a16="http://schemas.microsoft.com/office/drawing/2014/main" val="241779084"/>
                    </a:ext>
                  </a:extLst>
                </a:gridCol>
                <a:gridCol w="821154">
                  <a:extLst>
                    <a:ext uri="{9D8B030D-6E8A-4147-A177-3AD203B41FA5}">
                      <a16:colId xmlns:a16="http://schemas.microsoft.com/office/drawing/2014/main" val="3604118151"/>
                    </a:ext>
                  </a:extLst>
                </a:gridCol>
                <a:gridCol w="686642">
                  <a:extLst>
                    <a:ext uri="{9D8B030D-6E8A-4147-A177-3AD203B41FA5}">
                      <a16:colId xmlns:a16="http://schemas.microsoft.com/office/drawing/2014/main" val="1831187304"/>
                    </a:ext>
                  </a:extLst>
                </a:gridCol>
                <a:gridCol w="753899">
                  <a:extLst>
                    <a:ext uri="{9D8B030D-6E8A-4147-A177-3AD203B41FA5}">
                      <a16:colId xmlns:a16="http://schemas.microsoft.com/office/drawing/2014/main" val="307934405"/>
                    </a:ext>
                  </a:extLst>
                </a:gridCol>
                <a:gridCol w="559711">
                  <a:extLst>
                    <a:ext uri="{9D8B030D-6E8A-4147-A177-3AD203B41FA5}">
                      <a16:colId xmlns:a16="http://schemas.microsoft.com/office/drawing/2014/main" val="3984232168"/>
                    </a:ext>
                  </a:extLst>
                </a:gridCol>
                <a:gridCol w="622874">
                  <a:extLst>
                    <a:ext uri="{9D8B030D-6E8A-4147-A177-3AD203B41FA5}">
                      <a16:colId xmlns:a16="http://schemas.microsoft.com/office/drawing/2014/main" val="2343970122"/>
                    </a:ext>
                  </a:extLst>
                </a:gridCol>
                <a:gridCol w="691375">
                  <a:extLst>
                    <a:ext uri="{9D8B030D-6E8A-4147-A177-3AD203B41FA5}">
                      <a16:colId xmlns:a16="http://schemas.microsoft.com/office/drawing/2014/main" val="644947982"/>
                    </a:ext>
                  </a:extLst>
                </a:gridCol>
                <a:gridCol w="522196">
                  <a:extLst>
                    <a:ext uri="{9D8B030D-6E8A-4147-A177-3AD203B41FA5}">
                      <a16:colId xmlns:a16="http://schemas.microsoft.com/office/drawing/2014/main" val="2901790796"/>
                    </a:ext>
                  </a:extLst>
                </a:gridCol>
              </a:tblGrid>
              <a:tr h="41695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Месяц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Январь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Февраль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Март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Апрель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Май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Июнь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Итого</a:t>
                      </a:r>
                    </a:p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 6 мес.</a:t>
                      </a:r>
                    </a:p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2022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6 мес.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202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4438549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ТОО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</a:rPr>
                        <a:t> «ПНХЗ» (чел.)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7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9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7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3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30</a:t>
                      </a:r>
                      <a:endParaRPr lang="ru-RU" sz="12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46291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Сторонние организации (чел.)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37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22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231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42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301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611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2 16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1590</a:t>
                      </a:r>
                      <a:endParaRPr lang="ru-RU" sz="12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231339"/>
                  </a:ext>
                </a:extLst>
              </a:tr>
            </a:tbl>
          </a:graphicData>
        </a:graphic>
      </p:graphicFrame>
      <p:sp>
        <p:nvSpPr>
          <p:cNvPr id="14" name="Прямоугольник 8"/>
          <p:cNvSpPr/>
          <p:nvPr/>
        </p:nvSpPr>
        <p:spPr>
          <a:xfrm>
            <a:off x="478575" y="4403367"/>
            <a:ext cx="5823661" cy="307777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400" b="1" i="0" u="none" strike="noStrike" kern="1200" cap="none" spc="0" baseline="0" dirty="0" smtClean="0">
                <a:solidFill>
                  <a:srgbClr val="002060"/>
                </a:solidFill>
                <a:uFillTx/>
                <a:latin typeface="Century Gothic" panose="020B0502020202020204" pitchFamily="34" charset="0"/>
                <a:cs typeface="Times New Roman" pitchFamily="18"/>
              </a:rPr>
              <a:t>ПРОВЕДЕНИЕ ВВОДНОГО ИНСТРУКТАЖА</a:t>
            </a:r>
            <a:endParaRPr lang="ru-RU" sz="1400" b="1" i="0" u="none" strike="noStrike" kern="1200" cap="none" spc="0" baseline="0" dirty="0">
              <a:solidFill>
                <a:srgbClr val="002060"/>
              </a:solidFill>
              <a:uFillTx/>
              <a:latin typeface="Century Gothic" panose="020B0502020202020204" pitchFamily="34" charset="0"/>
              <a:cs typeface="Times New Roman" pitchFamily="18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9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192380" y="179836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БЕЗОПАСНОСТЬ И ОХРАНА ТРУДА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5374312"/>
              </p:ext>
            </p:extLst>
          </p:nvPr>
        </p:nvGraphicFramePr>
        <p:xfrm>
          <a:off x="6844937" y="1488200"/>
          <a:ext cx="5461992" cy="37666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844937" y="1018841"/>
            <a:ext cx="5249426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Сумма штрафов за нарушение требований безопасности и охраны труда, пожарной,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газовой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, промышленной безопасности подрядными и сервисными организациями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за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6 месяцев 2022 года в сравнении с аналогичным периодом 2021 года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ctr">
              <a:defRPr sz="1200" b="1" i="0" u="none" strike="noStrike" kern="1200" baseline="0">
                <a:solidFill>
                  <a:srgbClr val="002060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(без учета штрафов в остановочный </a:t>
            </a: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ремонт)</a:t>
            </a:r>
            <a:endParaRPr lang="ru-RU" sz="11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Заголовок 2"/>
          <p:cNvSpPr txBox="1">
            <a:spLocks/>
          </p:cNvSpPr>
          <p:nvPr/>
        </p:nvSpPr>
        <p:spPr>
          <a:xfrm>
            <a:off x="6844935" y="4900574"/>
            <a:ext cx="5249428" cy="168133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just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иболее часто встречающиеся нарушения: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ыполнение работ без оформления разрешающих документов, без применения необходимых средств защиты, отсутствие на месте производства работ ответственного за проведение. 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умма штрафов, 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зысканная за 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6 месяцев </a:t>
            </a:r>
            <a:r>
              <a:rPr lang="ru-RU" sz="1200" b="1" u="sng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021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года 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 подрядных 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и сервисных организаций, 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оставила </a:t>
            </a:r>
            <a:r>
              <a:rPr lang="ru-RU" sz="1200" b="1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904,3 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тыс. тенге. 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За 6 месяцев </a:t>
            </a:r>
            <a:r>
              <a:rPr lang="ru-RU" sz="1200" b="1" u="sng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022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года сумма штрафов составила </a:t>
            </a:r>
            <a:r>
              <a:rPr lang="ru-RU" sz="1200" b="1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2 925,6 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тыс. тенге (920 МРП).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882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74320" y="153994"/>
            <a:ext cx="91606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prstClr val="white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ЫПОЛНЕНИЕ КОРПОРАТИВНЫХ КПД ЗА </a:t>
            </a:r>
            <a:r>
              <a:rPr lang="en-US" b="1" dirty="0" smtClean="0">
                <a:solidFill>
                  <a:prstClr val="white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I</a:t>
            </a:r>
            <a:r>
              <a:rPr lang="ru-RU" b="1" dirty="0" smtClean="0">
                <a:solidFill>
                  <a:prstClr val="white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ПОЛУГОДИЕ 2022 ГОДА</a:t>
            </a:r>
            <a:endParaRPr lang="ru-RU" b="1" dirty="0">
              <a:solidFill>
                <a:prstClr val="white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7475218"/>
              </p:ext>
            </p:extLst>
          </p:nvPr>
        </p:nvGraphicFramePr>
        <p:xfrm>
          <a:off x="415631" y="949711"/>
          <a:ext cx="11147373" cy="4945615"/>
        </p:xfrm>
        <a:graphic>
          <a:graphicData uri="http://schemas.openxmlformats.org/drawingml/2006/table">
            <a:tbl>
              <a:tblPr/>
              <a:tblGrid>
                <a:gridCol w="471304">
                  <a:extLst>
                    <a:ext uri="{9D8B030D-6E8A-4147-A177-3AD203B41FA5}">
                      <a16:colId xmlns:a16="http://schemas.microsoft.com/office/drawing/2014/main" val="1516551841"/>
                    </a:ext>
                  </a:extLst>
                </a:gridCol>
                <a:gridCol w="2411292">
                  <a:extLst>
                    <a:ext uri="{9D8B030D-6E8A-4147-A177-3AD203B41FA5}">
                      <a16:colId xmlns:a16="http://schemas.microsoft.com/office/drawing/2014/main" val="3316874470"/>
                    </a:ext>
                  </a:extLst>
                </a:gridCol>
                <a:gridCol w="854103">
                  <a:extLst>
                    <a:ext uri="{9D8B030D-6E8A-4147-A177-3AD203B41FA5}">
                      <a16:colId xmlns:a16="http://schemas.microsoft.com/office/drawing/2014/main" val="1081917483"/>
                    </a:ext>
                  </a:extLst>
                </a:gridCol>
                <a:gridCol w="854103">
                  <a:extLst>
                    <a:ext uri="{9D8B030D-6E8A-4147-A177-3AD203B41FA5}">
                      <a16:colId xmlns:a16="http://schemas.microsoft.com/office/drawing/2014/main" val="1225868207"/>
                    </a:ext>
                  </a:extLst>
                </a:gridCol>
                <a:gridCol w="854103">
                  <a:extLst>
                    <a:ext uri="{9D8B030D-6E8A-4147-A177-3AD203B41FA5}">
                      <a16:colId xmlns:a16="http://schemas.microsoft.com/office/drawing/2014/main" val="2931996515"/>
                    </a:ext>
                  </a:extLst>
                </a:gridCol>
                <a:gridCol w="854103">
                  <a:extLst>
                    <a:ext uri="{9D8B030D-6E8A-4147-A177-3AD203B41FA5}">
                      <a16:colId xmlns:a16="http://schemas.microsoft.com/office/drawing/2014/main" val="1750433081"/>
                    </a:ext>
                  </a:extLst>
                </a:gridCol>
                <a:gridCol w="854103">
                  <a:extLst>
                    <a:ext uri="{9D8B030D-6E8A-4147-A177-3AD203B41FA5}">
                      <a16:colId xmlns:a16="http://schemas.microsoft.com/office/drawing/2014/main" val="1333757614"/>
                    </a:ext>
                  </a:extLst>
                </a:gridCol>
                <a:gridCol w="854103">
                  <a:extLst>
                    <a:ext uri="{9D8B030D-6E8A-4147-A177-3AD203B41FA5}">
                      <a16:colId xmlns:a16="http://schemas.microsoft.com/office/drawing/2014/main" val="3443301712"/>
                    </a:ext>
                  </a:extLst>
                </a:gridCol>
                <a:gridCol w="854103">
                  <a:extLst>
                    <a:ext uri="{9D8B030D-6E8A-4147-A177-3AD203B41FA5}">
                      <a16:colId xmlns:a16="http://schemas.microsoft.com/office/drawing/2014/main" val="4140516171"/>
                    </a:ext>
                  </a:extLst>
                </a:gridCol>
                <a:gridCol w="1080710">
                  <a:extLst>
                    <a:ext uri="{9D8B030D-6E8A-4147-A177-3AD203B41FA5}">
                      <a16:colId xmlns:a16="http://schemas.microsoft.com/office/drawing/2014/main" val="1747712588"/>
                    </a:ext>
                  </a:extLst>
                </a:gridCol>
                <a:gridCol w="1205346">
                  <a:extLst>
                    <a:ext uri="{9D8B030D-6E8A-4147-A177-3AD203B41FA5}">
                      <a16:colId xmlns:a16="http://schemas.microsoft.com/office/drawing/2014/main" val="1428472438"/>
                    </a:ext>
                  </a:extLst>
                </a:gridCol>
              </a:tblGrid>
              <a:tr h="208264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Наименование КПД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Ед. изм.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Вес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январь-июнь 2022 </a:t>
                      </a:r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г.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Порог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Цель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Вызов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Ожидаемое исполнение по итогам </a:t>
                      </a:r>
                      <a:r>
                        <a:rPr lang="ru-RU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22 </a:t>
                      </a:r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г.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166640"/>
                  </a:ext>
                </a:extLst>
              </a:tr>
              <a:tr h="2069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План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Факт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Откл.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8089245"/>
                  </a:ext>
                </a:extLst>
              </a:tr>
              <a:tr h="1659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(+/-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6390227"/>
                  </a:ext>
                </a:extLst>
              </a:tr>
              <a:tr h="37885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Выход светлых нефтепродуктов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5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0,0</a:t>
                      </a:r>
                      <a:endParaRPr lang="ru-RU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6,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+6,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1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,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119730"/>
                  </a:ext>
                </a:extLst>
              </a:tr>
              <a:tr h="42936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Операционные и капитальные затраты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млрд. тенге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2,8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3,7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9,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10,8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5,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0,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05,1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366" marR="6366" marT="6366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76839"/>
                  </a:ext>
                </a:extLst>
              </a:tr>
              <a:tr h="6330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Реализация инвестиционных проектов «СУГ" и «ГО ДТ"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15</a:t>
                      </a:r>
                      <a:endParaRPr lang="ru-RU" sz="1200" b="0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792979"/>
                  </a:ext>
                </a:extLst>
              </a:tr>
              <a:tr h="7577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Доля позитивных/нейтральных публикаций в СМИ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о деятельности ПНХЗ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78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12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u-RU" sz="1200" b="0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5200330"/>
                  </a:ext>
                </a:extLst>
              </a:tr>
              <a:tr h="6330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Местное содержани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в закупках товаров, работ и услуг</a:t>
                      </a:r>
                      <a:endParaRPr lang="en-US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+1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8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2480540"/>
                  </a:ext>
                </a:extLst>
              </a:tr>
              <a:tr h="7577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Снижение выбросов парниковых газов и загрязняющих веществ, сбросов и отходов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коэ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,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0,9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0,9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0,9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115057"/>
                  </a:ext>
                </a:extLst>
              </a:tr>
              <a:tr h="75770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Коэффициент несчастных случаев, связанных с трудовой деятельностью (LTIR) </a:t>
                      </a:r>
                      <a:endParaRPr lang="en-US" sz="12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коэф.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5%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2872480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415631" y="5977123"/>
            <a:ext cx="113136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435" algn="just">
              <a:defRPr/>
            </a:pP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ea typeface="Arial" charset="0"/>
                <a:cs typeface="Arial" panose="020B0604020202020204" pitchFamily="34" charset="0"/>
              </a:rPr>
              <a:t>За </a:t>
            </a:r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  <a:ea typeface="Arial" charset="0"/>
                <a:cs typeface="Arial" panose="020B0604020202020204" pitchFamily="34" charset="0"/>
              </a:rPr>
              <a:t>1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ea typeface="Arial" charset="0"/>
                <a:cs typeface="Arial" panose="020B0604020202020204" pitchFamily="34" charset="0"/>
              </a:rPr>
              <a:t>полугодие 2022 года из семи корпоративных показателей выполнены пять. Не выполнены два показателя – реализация инвестиционных проектов СУГ и ГО ДТ и доля позитивных публикаций в СМИ о деятельности ПНХЗ.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19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32014" y="763250"/>
            <a:ext cx="1165378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С 01 по 30 апреля 2022 года прошел первый этап конкурса по интегрированной системе безопасности и охраны труда «АМАН».  По итогам конкурса были присвоены призовые места в номинациях:   </a:t>
            </a:r>
            <a:endParaRPr lang="ru-RU" sz="12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2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«Лучшее </a:t>
            </a:r>
            <a:r>
              <a:rPr lang="ru-RU" sz="12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производство»</a:t>
            </a:r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  <a:endParaRPr lang="ru-RU" sz="12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1 место – ПГПН;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2 место – </a:t>
            </a:r>
            <a:r>
              <a:rPr lang="ru-RU" sz="1200" dirty="0" err="1">
                <a:latin typeface="Century Gothic" panose="020B0502020202020204" pitchFamily="34" charset="0"/>
                <a:cs typeface="Times New Roman" panose="02020603050405020304" pitchFamily="18" charset="0"/>
              </a:rPr>
              <a:t>ПСиОЗХ</a:t>
            </a:r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;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3 место – ПППН.</a:t>
            </a:r>
          </a:p>
          <a:p>
            <a:r>
              <a:rPr lang="ru-RU" sz="12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начальник </a:t>
            </a:r>
            <a:r>
              <a:rPr lang="ru-RU" sz="12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производства</a:t>
            </a:r>
            <a:r>
              <a:rPr lang="ru-RU" sz="12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»</a:t>
            </a:r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1 место – </a:t>
            </a:r>
            <a:r>
              <a:rPr lang="ru-RU" sz="1200" dirty="0" err="1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и.о</a:t>
            </a:r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. начальника  производства </a:t>
            </a:r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ПГПН – </a:t>
            </a:r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Парпиев </a:t>
            </a:r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А.М.;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2 место – начальник производства </a:t>
            </a:r>
            <a:r>
              <a:rPr lang="ru-RU" sz="1200" dirty="0" err="1">
                <a:latin typeface="Century Gothic" panose="020B0502020202020204" pitchFamily="34" charset="0"/>
                <a:cs typeface="Times New Roman" panose="02020603050405020304" pitchFamily="18" charset="0"/>
              </a:rPr>
              <a:t>ПСиОЗХ</a:t>
            </a:r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 – Тулисов В.Н.;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3 место – начальник производства ПППН – Утемисов Ж.Т.</a:t>
            </a:r>
          </a:p>
          <a:p>
            <a:r>
              <a:rPr lang="ru-RU" sz="12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начальник </a:t>
            </a:r>
            <a:r>
              <a:rPr lang="ru-RU" sz="12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установки / участка)»</a:t>
            </a:r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  <a:endParaRPr lang="ru-RU" sz="12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1 место – Валеев Р.Р. (начальник ГФХ, ППТНО);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2 место - Нургалиев Н.Е. (начальник установки, ПГПН);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3 место – </a:t>
            </a:r>
            <a:r>
              <a:rPr lang="ru-RU" sz="1200" dirty="0" err="1">
                <a:latin typeface="Century Gothic" panose="020B0502020202020204" pitchFamily="34" charset="0"/>
                <a:cs typeface="Times New Roman" panose="02020603050405020304" pitchFamily="18" charset="0"/>
              </a:rPr>
              <a:t>Демесинов</a:t>
            </a:r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 К.Ж. (начальник ЭСН, ПКОН).</a:t>
            </a:r>
          </a:p>
          <a:p>
            <a:r>
              <a:rPr lang="ru-RU" sz="12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наблюдатель»</a:t>
            </a:r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1 место - Урумбаев А.Б. - старший операционный координатор ПППН;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2 место - Советов Ю.Б. – начальник смены, ПКОН;</a:t>
            </a:r>
          </a:p>
          <a:p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3 место – </a:t>
            </a:r>
            <a:r>
              <a:rPr lang="ru-RU" sz="1200" dirty="0" err="1">
                <a:latin typeface="Century Gothic" panose="020B0502020202020204" pitchFamily="34" charset="0"/>
                <a:cs typeface="Times New Roman" panose="02020603050405020304" pitchFamily="18" charset="0"/>
              </a:rPr>
              <a:t>Хусаин</a:t>
            </a:r>
            <a:r>
              <a:rPr lang="ru-RU" sz="1200" dirty="0">
                <a:latin typeface="Century Gothic" panose="020B0502020202020204" pitchFamily="34" charset="0"/>
                <a:cs typeface="Times New Roman" panose="02020603050405020304" pitchFamily="18" charset="0"/>
              </a:rPr>
              <a:t> А.К. – начальник смены, ПГПН</a:t>
            </a:r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12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«Лучший инженер (ведущий инженер) по Б и ОТ»</a:t>
            </a:r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  <a:p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1 место – ведущий инженер по Б и ОТ по </a:t>
            </a:r>
            <a:r>
              <a:rPr lang="ru-RU" sz="1200" dirty="0" err="1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ПО</a:t>
            </a:r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 – Бенке А.А.;</a:t>
            </a:r>
          </a:p>
          <a:p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2 место – ведущий инженер по Б и ОТ – Алтынбеков Ч.Д.;</a:t>
            </a:r>
          </a:p>
          <a:p>
            <a:r>
              <a:rPr lang="ru-RU" sz="12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3 место – ведущий инженер по Б и ОТ – Киреева О.В.</a:t>
            </a:r>
            <a:endParaRPr lang="ru-RU" dirty="0">
              <a:latin typeface="Century Gothic" panose="020B0502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6"/>
          <a:stretch/>
        </p:blipFill>
        <p:spPr>
          <a:xfrm>
            <a:off x="6438736" y="1195795"/>
            <a:ext cx="5440696" cy="3097741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6" name="TextBox 5"/>
          <p:cNvSpPr txBox="1"/>
          <p:nvPr/>
        </p:nvSpPr>
        <p:spPr>
          <a:xfrm>
            <a:off x="3365236" y="4958110"/>
            <a:ext cx="54726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ПЛАН ОБУЧЕНИЯ по </a:t>
            </a:r>
            <a:r>
              <a:rPr lang="ru-RU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БиОТ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НА 2022 ГОД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4007593"/>
              </p:ext>
            </p:extLst>
          </p:nvPr>
        </p:nvGraphicFramePr>
        <p:xfrm>
          <a:off x="532014" y="5304672"/>
          <a:ext cx="11139053" cy="134605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6526707">
                  <a:extLst>
                    <a:ext uri="{9D8B030D-6E8A-4147-A177-3AD203B41FA5}">
                      <a16:colId xmlns:a16="http://schemas.microsoft.com/office/drawing/2014/main" val="3276402472"/>
                    </a:ext>
                  </a:extLst>
                </a:gridCol>
                <a:gridCol w="2663011">
                  <a:extLst>
                    <a:ext uri="{9D8B030D-6E8A-4147-A177-3AD203B41FA5}">
                      <a16:colId xmlns:a16="http://schemas.microsoft.com/office/drawing/2014/main" val="4208477689"/>
                    </a:ext>
                  </a:extLst>
                </a:gridCol>
                <a:gridCol w="1949335">
                  <a:extLst>
                    <a:ext uri="{9D8B030D-6E8A-4147-A177-3AD203B41FA5}">
                      <a16:colId xmlns:a16="http://schemas.microsoft.com/office/drawing/2014/main" val="2989111571"/>
                    </a:ext>
                  </a:extLst>
                </a:gridCol>
              </a:tblGrid>
              <a:tr h="34021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Наименование обучения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Количество обучаемых (чел.)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Сумма (тенге)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7888257"/>
                  </a:ext>
                </a:extLst>
              </a:tr>
              <a:tr h="27294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Первичное обучение </a:t>
                      </a:r>
                      <a:r>
                        <a:rPr lang="ru-RU" sz="1200" dirty="0" err="1" smtClean="0">
                          <a:latin typeface="Century Gothic" panose="020B0502020202020204" pitchFamily="34" charset="0"/>
                        </a:rPr>
                        <a:t>парамедиков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36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400 000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5120396"/>
                  </a:ext>
                </a:extLst>
              </a:tr>
              <a:tr h="27294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Повышение квалификации специалистов по Б и ОТ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4 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536 000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7493488"/>
                  </a:ext>
                </a:extLst>
              </a:tr>
              <a:tr h="425245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Обучение</a:t>
                      </a:r>
                      <a:r>
                        <a:rPr lang="ru-RU" sz="1200" baseline="0" dirty="0" smtClean="0">
                          <a:latin typeface="Century Gothic" panose="020B0502020202020204" pitchFamily="34" charset="0"/>
                        </a:rPr>
                        <a:t> р</a:t>
                      </a:r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уководителей и лиц, ответственных за организацию Б и ОТ в соответствии с трудовым законодательством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65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entury Gothic" panose="020B0502020202020204" pitchFamily="34" charset="0"/>
                        </a:rPr>
                        <a:t>650 000</a:t>
                      </a:r>
                      <a:endParaRPr lang="ru-RU" sz="1200" dirty="0"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9266205"/>
                  </a:ext>
                </a:extLst>
              </a:tr>
            </a:tbl>
          </a:graphicData>
        </a:graphic>
      </p:graphicFrame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88470" y="142893"/>
            <a:ext cx="94949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ИНТЕГРИРОВАННАЯ СИСТЕМА БЕЗОПАСНОСТИ И ОХРАНЫ ТРУДА «АМАН»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481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112" y="46660"/>
            <a:ext cx="2254219" cy="532060"/>
          </a:xfrm>
          <a:prstGeom prst="rect">
            <a:avLst/>
          </a:prstGeom>
        </p:spPr>
      </p:pic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204011" y="143950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Я СОЦИАЛЬНОЙ ПОЛИТИКИ ТОО «ПНХЗ»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1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9"/>
          <p:cNvSpPr>
            <a:spLocks noChangeShapeType="1"/>
          </p:cNvSpPr>
          <p:nvPr/>
        </p:nvSpPr>
        <p:spPr bwMode="auto">
          <a:xfrm>
            <a:off x="334347" y="620688"/>
            <a:ext cx="8550820" cy="0"/>
          </a:xfrm>
          <a:prstGeom prst="line">
            <a:avLst/>
          </a:prstGeom>
          <a:noFill/>
          <a:ln w="15875" cmpd="sng">
            <a:solidFill>
              <a:srgbClr val="003399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dirty="0"/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8110" y="1812775"/>
            <a:ext cx="1203818" cy="742070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379330" y="916922"/>
            <a:ext cx="11430001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первом полугодии 2022г. на социальную поддержку работников завода выделено  – </a:t>
            </a:r>
            <a:r>
              <a:rPr lang="ru-RU" sz="16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14,2</a:t>
            </a:r>
            <a:r>
              <a:rPr lang="ru-RU" sz="16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лн тенге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циальный пакет  на 1 работника составил – </a:t>
            </a:r>
            <a:r>
              <a:rPr lang="ru-RU" sz="16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59,7 тыс. тенге</a:t>
            </a:r>
            <a:endParaRPr lang="ru-RU" sz="1600" b="1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122714" y="1931813"/>
            <a:ext cx="5299087" cy="681324"/>
          </a:xfrm>
          <a:prstGeom prst="rect">
            <a:avLst/>
          </a:prstGeom>
          <a:noFill/>
          <a:ln>
            <a:noFill/>
          </a:ln>
        </p:spPr>
        <p:txBody>
          <a:bodyPr wrap="square" lIns="54000" tIns="0" rIns="0" bIns="0">
            <a:spAutoFit/>
          </a:bodyPr>
          <a:lstStyle/>
          <a:p>
            <a:pPr algn="just" defTabSz="685800" fontAlgn="ctr">
              <a:defRPr/>
            </a:pP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6 работников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завода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вступили в брак, создали семьи.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умма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выплат </a:t>
            </a:r>
            <a:r>
              <a:rPr lang="ru-RU" sz="14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мат.помощи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молодожёнам составила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,5 млн тенге</a:t>
            </a:r>
            <a:endParaRPr lang="ru-RU" sz="14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122714" y="2744809"/>
            <a:ext cx="5313218" cy="985072"/>
          </a:xfrm>
          <a:prstGeom prst="rect">
            <a:avLst/>
          </a:prstGeom>
          <a:noFill/>
        </p:spPr>
        <p:txBody>
          <a:bodyPr wrap="square" lIns="54000" tIns="36000" rIns="36000" bIns="36000">
            <a:spAutoFit/>
          </a:bodyPr>
          <a:lstStyle/>
          <a:p>
            <a:pPr algn="just" defTabSz="685800" fontAlgn="ctr">
              <a:defRPr/>
            </a:pP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У</a:t>
            </a:r>
            <a:r>
              <a:rPr lang="ru-RU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44-х </a:t>
            </a:r>
            <a:r>
              <a:rPr lang="ru-RU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работников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завода родились дети, им выплачена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материальная помощь в размере 159000 тенге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на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каждого ребёнка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. Общая сумма выплат составила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7,2 млн тенге</a:t>
            </a:r>
            <a:endParaRPr lang="ru-RU" sz="14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109751" y="3620871"/>
            <a:ext cx="5339145" cy="757963"/>
          </a:xfrm>
          <a:prstGeom prst="rect">
            <a:avLst/>
          </a:prstGeom>
          <a:noFill/>
        </p:spPr>
        <p:txBody>
          <a:bodyPr wrap="square" lIns="72000" tIns="36000" rIns="72000" bIns="36000">
            <a:spAutoFit/>
          </a:bodyPr>
          <a:lstStyle/>
          <a:p>
            <a:pPr algn="just" defTabSz="685800" fontAlgn="ctr">
              <a:defRPr/>
            </a:pP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Оказана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материальная помощь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60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работникам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завода, перенесшим тяжелые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заболевания и в других трудных жизненных ситуациях на сумму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4,5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млн тенге</a:t>
            </a:r>
            <a:r>
              <a:rPr lang="en-US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r>
              <a:rPr lang="ru-RU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161080" y="4317776"/>
            <a:ext cx="5313219" cy="757963"/>
          </a:xfrm>
          <a:prstGeom prst="rect">
            <a:avLst/>
          </a:prstGeom>
          <a:noFill/>
        </p:spPr>
        <p:txBody>
          <a:bodyPr wrap="square" lIns="72000" tIns="36000" rIns="36000" bIns="36000">
            <a:spAutoFit/>
          </a:bodyPr>
          <a:lstStyle/>
          <a:p>
            <a:pPr lvl="0" algn="just">
              <a:defRPr/>
            </a:pP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17 семей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работников отдохнули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Домах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отдыха, на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компенсацию стоимости путевок заводом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направлено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4,8 млн тенге</a:t>
            </a:r>
            <a:r>
              <a:rPr lang="ru-RU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174350" y="5057525"/>
            <a:ext cx="5274546" cy="757963"/>
          </a:xfrm>
          <a:prstGeom prst="rect">
            <a:avLst/>
          </a:prstGeom>
          <a:noFill/>
        </p:spPr>
        <p:txBody>
          <a:bodyPr wrap="square" lIns="54000" tIns="36000" rIns="36000" bIns="36000">
            <a:spAutoFit/>
          </a:bodyPr>
          <a:lstStyle/>
          <a:p>
            <a:pPr algn="just" defTabSz="685800" fontAlgn="ctr">
              <a:defRPr/>
            </a:pP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2 работников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отметили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свои юбилейные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даты (50 и 60 лет).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Заводом выплачена им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мат.помощь на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общую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умму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,9 млн тенге </a:t>
            </a:r>
            <a:endParaRPr lang="ru-RU" sz="1400" dirty="0">
              <a:latin typeface="Century Gothic" panose="020B0502020202020204" pitchFamily="34" charset="0"/>
            </a:endParaRPr>
          </a:p>
        </p:txBody>
      </p:sp>
      <p:pic>
        <p:nvPicPr>
          <p:cNvPr id="49" name="Picture 2" descr="https://yt3.ggpht.com/a/AATXAJxPhK0A6m9wWRdUmmnCNkA2Kcnf94B56JwpJ_So=s900-c-k-c0xffffffff-no-rj-m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809" y="3739826"/>
            <a:ext cx="535559" cy="487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389831" y="2006699"/>
            <a:ext cx="688906" cy="562044"/>
            <a:chOff x="501809" y="2006699"/>
            <a:chExt cx="576928" cy="436147"/>
          </a:xfrm>
        </p:grpSpPr>
        <p:sp>
          <p:nvSpPr>
            <p:cNvPr id="51" name="Блок-схема: узел 50"/>
            <p:cNvSpPr/>
            <p:nvPr/>
          </p:nvSpPr>
          <p:spPr>
            <a:xfrm>
              <a:off x="501809" y="2006699"/>
              <a:ext cx="576928" cy="436147"/>
            </a:xfrm>
            <a:prstGeom prst="flowChartConnector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>
                <a:latin typeface="Century Gothic" panose="020B0502020202020204" pitchFamily="34" charset="0"/>
              </a:endParaRPr>
            </a:p>
          </p:txBody>
        </p:sp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81505" y="2067243"/>
              <a:ext cx="397022" cy="315059"/>
            </a:xfrm>
            <a:prstGeom prst="rect">
              <a:avLst/>
            </a:prstGeom>
            <a:ln>
              <a:noFill/>
            </a:ln>
            <a:scene3d>
              <a:camera prst="orthographicFront"/>
              <a:lightRig rig="threePt" dir="t"/>
            </a:scene3d>
            <a:sp3d/>
          </p:spPr>
        </p:pic>
      </p:grpSp>
      <p:grpSp>
        <p:nvGrpSpPr>
          <p:cNvPr id="5" name="Группа 4"/>
          <p:cNvGrpSpPr/>
          <p:nvPr/>
        </p:nvGrpSpPr>
        <p:grpSpPr>
          <a:xfrm>
            <a:off x="389831" y="2796876"/>
            <a:ext cx="674994" cy="664798"/>
            <a:chOff x="473736" y="2762327"/>
            <a:chExt cx="597747" cy="480978"/>
          </a:xfrm>
        </p:grpSpPr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96143" y="2855327"/>
              <a:ext cx="388260" cy="294978"/>
            </a:xfrm>
            <a:prstGeom prst="rect">
              <a:avLst/>
            </a:prstGeom>
            <a:ln>
              <a:noFill/>
            </a:ln>
          </p:spPr>
        </p:pic>
        <p:sp>
          <p:nvSpPr>
            <p:cNvPr id="55" name="Блок-схема: узел 54"/>
            <p:cNvSpPr/>
            <p:nvPr/>
          </p:nvSpPr>
          <p:spPr>
            <a:xfrm>
              <a:off x="473736" y="2762327"/>
              <a:ext cx="597747" cy="480978"/>
            </a:xfrm>
            <a:prstGeom prst="flowChartConnector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>
                <a:latin typeface="Century Gothic" panose="020B0502020202020204" pitchFamily="34" charset="0"/>
              </a:endParaRPr>
            </a:p>
          </p:txBody>
        </p:sp>
      </p:grpSp>
      <p:pic>
        <p:nvPicPr>
          <p:cNvPr id="56" name="Рисунок 5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3743" y="5105477"/>
            <a:ext cx="791607" cy="628702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2733" y="4330075"/>
            <a:ext cx="834566" cy="616403"/>
          </a:xfrm>
          <a:prstGeom prst="rect">
            <a:avLst/>
          </a:prstGeom>
        </p:spPr>
      </p:pic>
      <p:sp>
        <p:nvSpPr>
          <p:cNvPr id="58" name="Прямоугольник 57"/>
          <p:cNvSpPr/>
          <p:nvPr/>
        </p:nvSpPr>
        <p:spPr>
          <a:xfrm>
            <a:off x="1135154" y="5845226"/>
            <a:ext cx="5339145" cy="778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00" fontAlgn="ctr">
              <a:defRPr/>
            </a:pP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ыплачена материальная помощь на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оздоровление в связи с уходом в ежегодный трудовой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отпуск на сумму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693,9 млн тенге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7274304" y="2703711"/>
            <a:ext cx="4457002" cy="757963"/>
          </a:xfrm>
          <a:prstGeom prst="rect">
            <a:avLst/>
          </a:prstGeom>
          <a:noFill/>
        </p:spPr>
        <p:txBody>
          <a:bodyPr wrap="square" lIns="54000" tIns="36000" rIns="36000" bIns="36000">
            <a:spAutoFit/>
          </a:bodyPr>
          <a:lstStyle/>
          <a:p>
            <a:pPr algn="just" defTabSz="685800" fontAlgn="ctr">
              <a:defRPr/>
            </a:pP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84 работникам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, имеющим детей дошкольного возраста, произведена компенсация оплаты частных детских садов на сумму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3,8 млн  тенге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7268957" y="3592758"/>
            <a:ext cx="4462349" cy="985072"/>
          </a:xfrm>
          <a:prstGeom prst="rect">
            <a:avLst/>
          </a:prstGeom>
          <a:noFill/>
        </p:spPr>
        <p:txBody>
          <a:bodyPr wrap="square" lIns="72000" tIns="36000" rIns="36000" bIns="36000">
            <a:spAutoFit/>
          </a:bodyPr>
          <a:lstStyle/>
          <a:p>
            <a:pPr algn="just" defTabSz="685800" fontAlgn="ctr">
              <a:defRPr/>
            </a:pPr>
            <a:r>
              <a:rPr lang="ru-RU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30 работникам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– участникам жилищной программы, произведено возмещение затрат по погашению процентов по займу на сумму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0,5 млн тенге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07376" y="3667382"/>
            <a:ext cx="661581" cy="618223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4281" y="2744809"/>
            <a:ext cx="599481" cy="570055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308" y="5913640"/>
            <a:ext cx="607161" cy="569046"/>
          </a:xfrm>
          <a:prstGeom prst="rect">
            <a:avLst/>
          </a:prstGeom>
        </p:spPr>
      </p:pic>
      <p:sp>
        <p:nvSpPr>
          <p:cNvPr id="64" name="Прямоугольник 63"/>
          <p:cNvSpPr/>
          <p:nvPr/>
        </p:nvSpPr>
        <p:spPr>
          <a:xfrm>
            <a:off x="7218045" y="1887176"/>
            <a:ext cx="4498608" cy="778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685800" fontAlgn="ctr">
              <a:defRPr/>
            </a:pP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ыплачена материальная помощь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8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работникам, имеющим  4-х и более детей на сумму 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,8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млн тенге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7481788" y="4648092"/>
            <a:ext cx="3971122" cy="357538"/>
          </a:xfrm>
          <a:prstGeom prst="round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ИЛИЩНАЯ ПРОГРАММА 2022 Г</a:t>
            </a:r>
            <a:r>
              <a:rPr lang="ru-RU" sz="1400" b="1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6894021" y="4989271"/>
            <a:ext cx="4916979" cy="1848738"/>
          </a:xfrm>
          <a:prstGeom prst="round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2022 году планируется выдача льготных  займов </a:t>
            </a:r>
            <a:r>
              <a:rPr lang="ru-RU" sz="1400" b="1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0 работникам </a:t>
            </a: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вода через банки второго уровня.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 результатам заседаний цеховых комиссий отобрано </a:t>
            </a:r>
            <a:r>
              <a:rPr lang="ru-RU" sz="1400" b="1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3 кандидата</a:t>
            </a: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ведется подготовка к заводской жилищной комиссии</a:t>
            </a:r>
          </a:p>
          <a:p>
            <a:pPr algn="just"/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200" b="1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0278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2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35527" y="195225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СОЦИАЛЬНО-БЫТОВАЯ СФЕРА</a:t>
            </a: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907383"/>
              </p:ext>
            </p:extLst>
          </p:nvPr>
        </p:nvGraphicFramePr>
        <p:xfrm>
          <a:off x="657927" y="1917380"/>
          <a:ext cx="10915134" cy="417888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523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91392">
                  <a:extLst>
                    <a:ext uri="{9D8B030D-6E8A-4147-A177-3AD203B41FA5}">
                      <a16:colId xmlns:a16="http://schemas.microsoft.com/office/drawing/2014/main" val="1098337719"/>
                    </a:ext>
                  </a:extLst>
                </a:gridCol>
              </a:tblGrid>
              <a:tr h="264549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Услуги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Формы контроля</a:t>
                      </a:r>
                    </a:p>
                  </a:txBody>
                  <a:tcPr anchor="ctr">
                    <a:lnL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6470">
                <a:tc>
                  <a:txBody>
                    <a:bodyPr/>
                    <a:lstStyle/>
                    <a:p>
                      <a:pPr algn="l" rtl="0" fontAlgn="t"/>
                      <a:endParaRPr lang="ru-RU" sz="1200" b="1" u="none" strike="noStrike" dirty="0" smtClean="0"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 rtl="0" fontAlgn="t"/>
                      <a:r>
                        <a:rPr lang="ru-RU" sz="1200" b="1" u="none" strike="noStrike" dirty="0" err="1" smtClean="0"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лининговые</a:t>
                      </a:r>
                      <a:r>
                        <a:rPr lang="ru-RU" sz="1200" b="1" u="none" strike="noStrike" dirty="0" smtClean="0"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l" rtl="0" fontAlgn="t"/>
                      <a:r>
                        <a:rPr lang="ru-RU" sz="1200" b="1" u="none" strike="noStrike" dirty="0" smtClean="0"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луг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5774" marT="4812" marB="0">
                    <a:lnL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 rtl="0" fontAlgn="t">
                        <a:buFont typeface="Wingdings" panose="05000000000000000000" pitchFamily="2" charset="2"/>
                        <a:buNone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       </a:t>
                      </a:r>
                    </a:p>
                    <a:p>
                      <a:pPr marL="0" indent="0" algn="just" rtl="0" fontAlgn="t">
                        <a:buFont typeface="Wingdings" panose="05000000000000000000" pitchFamily="2" charset="2"/>
                        <a:buNone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Согласно    ДП-ХI-60.12-01   "Контроль   качества   оказания   клининговых    услуг    ТОО «ПНХЗ» производятся   комиссионные проверки,   в  1-ом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полугодии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2022 года   заполнено 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44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контрольных листа,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проверки были проведены во всех АБК завода.</a:t>
                      </a:r>
                    </a:p>
                    <a:p>
                      <a:pPr marL="0" indent="0" algn="just" rtl="0" fontAlgn="t">
                        <a:buFont typeface="Wingdings" panose="05000000000000000000" pitchFamily="2" charset="2"/>
                        <a:buNone/>
                      </a:pPr>
                      <a:endParaRPr lang="ru-RU" sz="1200" b="0" i="0" u="none" kern="120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36000" marR="5774" marT="4812" marB="0">
                    <a:lnL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85353">
                <a:tc>
                  <a:txBody>
                    <a:bodyPr/>
                    <a:lstStyle/>
                    <a:p>
                      <a:pPr algn="l" rtl="0" fontAlgn="t"/>
                      <a:endParaRPr lang="ru-RU" sz="1200" b="1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 rtl="0" fontAlgn="t"/>
                      <a:endParaRPr lang="ru-RU" sz="1200" b="1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 rtl="0" fontAlgn="t"/>
                      <a:endParaRPr lang="ru-RU" sz="1200" b="1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 rtl="0" fontAlgn="t"/>
                      <a:endParaRPr lang="ru-RU" sz="1200" b="1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 rtl="0" fontAlgn="t"/>
                      <a:endParaRPr lang="ru-RU" sz="1200" b="1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 rtl="0" fontAlgn="t"/>
                      <a:endParaRPr lang="ru-RU" sz="1200" b="1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 rtl="0" fontAlgn="t"/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Обеспечение </a:t>
                      </a:r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итанием работников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5774" marT="4812" marB="0">
                    <a:lnL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     </a:t>
                      </a: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Согласно ДП-XХI-ЗУ-01.06-38  «Проведение контроля оказания услуг по обеспечению питанием ТОО «ПНХЗ» работниками отдела инфраструктурного обслуживания производится контроль качества оказания услуг по обеспечению питанием, а именно:</a:t>
                      </a:r>
                    </a:p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не менее 1 раза в месяц производится контроль качества готовой пищи методом контрольного взвешивания и органолептического анализа - бракераж. По результатам бракеража заполняется акт бракеража;</a:t>
                      </a:r>
                    </a:p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согласно распоряжению № 180 от 28.12.2021г. проводятся еженедельные комиссионные проверки, всего проведено 19 комиссионных проверок;</a:t>
                      </a:r>
                    </a:p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на постоянной основе производится анкетирование сотрудников для выявления удовлетворенности качеством питания, ассортиментом, санитарным состоянием и обслуживанием в столовых, всего заполнено 667 анкет;</a:t>
                      </a:r>
                    </a:p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производится контроль оказания услуг во всех столовых предприятия. В ходе проверки осуществляется строгий контроль за работниками столовых: за использованием работниками столовой перчаток и своевременностью их смены; контроль за своевременностью наполнения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санитайзеров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для рук. По результатам проверок заполняется оценочный лист, всего заполнено 23 оценочных листа.</a:t>
                      </a:r>
                    </a:p>
                  </a:txBody>
                  <a:tcPr marL="36000" marR="5774" marT="4812" marB="0">
                    <a:lnL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2F5597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5096908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88492" y="1040429"/>
            <a:ext cx="109845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         На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редприятии большое внимание уделяется социально-бытовым условиям, организации горячего питания, медицинского обслуживания работников, а также контролю качества оказания услуг в этой области подрядными организациями. </a:t>
            </a:r>
          </a:p>
        </p:txBody>
      </p:sp>
    </p:spTree>
    <p:extLst>
      <p:ext uri="{BB962C8B-B14F-4D97-AF65-F5344CB8AC3E}">
        <p14:creationId xmlns:p14="http://schemas.microsoft.com/office/powerpoint/2010/main" val="3497043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3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35527" y="195225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</a:rPr>
              <a:t>КАДРОВАЯ ПОЛИТИКА</a:t>
            </a:r>
          </a:p>
        </p:txBody>
      </p:sp>
      <p:sp>
        <p:nvSpPr>
          <p:cNvPr id="7" name="Rectangle 19"/>
          <p:cNvSpPr>
            <a:spLocks/>
          </p:cNvSpPr>
          <p:nvPr/>
        </p:nvSpPr>
        <p:spPr>
          <a:xfrm>
            <a:off x="183260" y="5774786"/>
            <a:ext cx="4191033" cy="864207"/>
          </a:xfrm>
          <a:prstGeom prst="rect">
            <a:avLst/>
          </a:prstGeom>
          <a:solidFill>
            <a:srgbClr val="E7EAF3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kk-KZ" sz="1100" b="1" dirty="0">
                <a:solidFill>
                  <a:schemeClr val="tx2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сновные причины </a:t>
            </a:r>
            <a:r>
              <a:rPr lang="kk-KZ" sz="1100" b="1" dirty="0" smtClean="0">
                <a:solidFill>
                  <a:schemeClr val="tx2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сторжения трудового договора:</a:t>
            </a:r>
            <a:endParaRPr lang="kk-KZ" sz="1100" b="1" dirty="0">
              <a:solidFill>
                <a:schemeClr val="tx2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  <a:defRPr/>
            </a:pPr>
            <a:r>
              <a:rPr lang="kk-KZ" sz="1100" dirty="0">
                <a:solidFill>
                  <a:schemeClr val="tx2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ереход в другие компании по РК (60%)</a:t>
            </a:r>
          </a:p>
          <a:p>
            <a:pPr marL="171450" indent="-171450">
              <a:buFont typeface="Wingdings" panose="05000000000000000000" pitchFamily="2" charset="2"/>
              <a:buChar char="Ø"/>
              <a:defRPr/>
            </a:pPr>
            <a:r>
              <a:rPr lang="kk-KZ" sz="1100" dirty="0">
                <a:solidFill>
                  <a:schemeClr val="tx2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ереезд в РФ и зарубежье (22%)</a:t>
            </a:r>
          </a:p>
          <a:p>
            <a:pPr marL="171450" indent="-171450">
              <a:buFont typeface="Wingdings" panose="05000000000000000000" pitchFamily="2" charset="2"/>
              <a:buChar char="Ø"/>
              <a:defRPr/>
            </a:pPr>
            <a:r>
              <a:rPr lang="kk-KZ" sz="1100" dirty="0">
                <a:solidFill>
                  <a:schemeClr val="tx2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Достижение пенсионного возраста(18%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7527" y="3701575"/>
            <a:ext cx="43824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62" b="0" i="0" u="none" strike="noStrike" kern="1200" cap="none" spc="20" baseline="0">
                <a:solidFill>
                  <a:srgbClr val="4D4D4D">
                    <a:lumMod val="50000"/>
                    <a:lumOff val="50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kk-KZ" sz="1200" b="1" spc="2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ИНАМИКА УВОЛЬНЕНИЯ ПО ПРИЧИНАМ ТЕКУЧЕСТИ</a:t>
            </a:r>
            <a:endParaRPr lang="ru-RU" sz="1200" b="1" spc="2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3870104"/>
              </p:ext>
            </p:extLst>
          </p:nvPr>
        </p:nvGraphicFramePr>
        <p:xfrm>
          <a:off x="202347" y="1420976"/>
          <a:ext cx="4027489" cy="994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2854392"/>
              </p:ext>
            </p:extLst>
          </p:nvPr>
        </p:nvGraphicFramePr>
        <p:xfrm>
          <a:off x="501897" y="2415690"/>
          <a:ext cx="3727939" cy="1243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9167" y="6043778"/>
            <a:ext cx="785126" cy="5952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3752042"/>
              </p:ext>
            </p:extLst>
          </p:nvPr>
        </p:nvGraphicFramePr>
        <p:xfrm>
          <a:off x="183258" y="4020816"/>
          <a:ext cx="4191035" cy="1722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6790">
                  <a:extLst>
                    <a:ext uri="{9D8B030D-6E8A-4147-A177-3AD203B41FA5}">
                      <a16:colId xmlns:a16="http://schemas.microsoft.com/office/drawing/2014/main" val="3914699537"/>
                    </a:ext>
                  </a:extLst>
                </a:gridCol>
                <a:gridCol w="529428">
                  <a:extLst>
                    <a:ext uri="{9D8B030D-6E8A-4147-A177-3AD203B41FA5}">
                      <a16:colId xmlns:a16="http://schemas.microsoft.com/office/drawing/2014/main" val="3630356110"/>
                    </a:ext>
                  </a:extLst>
                </a:gridCol>
                <a:gridCol w="495340">
                  <a:extLst>
                    <a:ext uri="{9D8B030D-6E8A-4147-A177-3AD203B41FA5}">
                      <a16:colId xmlns:a16="http://schemas.microsoft.com/office/drawing/2014/main" val="2037819840"/>
                    </a:ext>
                  </a:extLst>
                </a:gridCol>
                <a:gridCol w="1129477">
                  <a:extLst>
                    <a:ext uri="{9D8B030D-6E8A-4147-A177-3AD203B41FA5}">
                      <a16:colId xmlns:a16="http://schemas.microsoft.com/office/drawing/2014/main" val="2768237822"/>
                    </a:ext>
                  </a:extLst>
                </a:gridCol>
              </a:tblGrid>
              <a:tr h="129736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Профессии</a:t>
                      </a:r>
                      <a:endParaRPr lang="ru-RU" sz="11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0</a:t>
                      </a:r>
                      <a:endParaRPr lang="ru-RU" sz="11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1</a:t>
                      </a:r>
                      <a:endParaRPr lang="ru-RU" sz="11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6</a:t>
                      </a:r>
                      <a:r>
                        <a:rPr lang="ru-RU" sz="1100" baseline="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мес. 2022</a:t>
                      </a:r>
                      <a:endParaRPr lang="ru-RU" sz="11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087741"/>
                  </a:ext>
                </a:extLst>
              </a:tr>
              <a:tr h="22161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Всего уволено (чел):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</a:rPr>
                        <a:t>85</a:t>
                      </a:r>
                      <a:endParaRPr lang="ru-RU" sz="1100" b="1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</a:rPr>
                        <a:t>88</a:t>
                      </a:r>
                      <a:endParaRPr lang="ru-RU" sz="1100" b="1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rgbClr val="C00000"/>
                          </a:solidFill>
                          <a:latin typeface="Century Gothic" panose="020B0502020202020204" pitchFamily="34" charset="0"/>
                        </a:rPr>
                        <a:t>50</a:t>
                      </a:r>
                      <a:endParaRPr lang="ru-RU" sz="1100" b="1" dirty="0">
                        <a:solidFill>
                          <a:srgbClr val="C00000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5287394"/>
                  </a:ext>
                </a:extLst>
              </a:tr>
              <a:tr h="221613"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Century Gothic" panose="020B0502020202020204" pitchFamily="34" charset="0"/>
                        </a:rPr>
                        <a:t>В том числе</a:t>
                      </a:r>
                      <a:r>
                        <a:rPr lang="ru-RU" sz="1100" b="1" baseline="0" dirty="0" smtClean="0">
                          <a:latin typeface="Century Gothic" panose="020B0502020202020204" pitchFamily="34" charset="0"/>
                        </a:rPr>
                        <a:t> по рабочим профессиям (чел.):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0418441"/>
                  </a:ext>
                </a:extLst>
              </a:tr>
              <a:tr h="22161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Операторы тех. установок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24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26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23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834206"/>
                  </a:ext>
                </a:extLst>
              </a:tr>
              <a:tr h="22161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Машинисты к/у, т/н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0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5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5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4686003"/>
                  </a:ext>
                </a:extLst>
              </a:tr>
              <a:tr h="22161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Операторы товарные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8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8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3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048304"/>
                  </a:ext>
                </a:extLst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206839" y="842507"/>
            <a:ext cx="4857982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исленность персонала на 01.08.2022 г. – 1330 чел.</a:t>
            </a:r>
          </a:p>
          <a:p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едний возраст персонала - 38 лет</a:t>
            </a:r>
            <a:endParaRPr lang="en-US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едний стаж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боты на заводе – 12 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ет</a:t>
            </a:r>
            <a:endParaRPr lang="ru-RU" sz="12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778887" y="722846"/>
            <a:ext cx="697768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УАЛЬНОЕ ОБУЧЕНИЕ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4600696" y="968305"/>
            <a:ext cx="7620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:</a:t>
            </a:r>
            <a:r>
              <a:rPr lang="ru-RU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Сочетание теоретических знаний с практическим ознакомлением с процессами нефтепереработки</a:t>
            </a:r>
          </a:p>
          <a:p>
            <a:pPr algn="just"/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АРТНЕР, УЧЕБНОЕ ЗАВЕДЕНИЕ:</a:t>
            </a:r>
          </a:p>
          <a:p>
            <a:pPr marL="139303" indent="-139303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Павлодарский химико-механический колледж – с 2013 г.</a:t>
            </a:r>
          </a:p>
          <a:p>
            <a:pPr marL="139303" indent="-139303" algn="just">
              <a:buFont typeface="Arial" panose="020B0604020202020204" pitchFamily="34" charset="0"/>
              <a:buChar char="•"/>
            </a:pP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НОУ «</a:t>
            </a:r>
            <a:r>
              <a:rPr lang="ru-RU" sz="1000" dirty="0" err="1">
                <a:latin typeface="Century Gothic" panose="020B0502020202020204" pitchFamily="34" charset="0"/>
                <a:cs typeface="Arial" panose="020B0604020202020204" pitchFamily="34" charset="0"/>
              </a:rPr>
              <a:t>Торайгыров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 Университет» – с 2018 г.</a:t>
            </a:r>
            <a:endParaRPr lang="ru-RU" sz="10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730475" y="1727776"/>
            <a:ext cx="24553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ПУСКИ СТУДЕНТОВ ДУАЛЬНОЙ ФОРМЫ ОБУЧЕНИЯ: </a:t>
            </a:r>
          </a:p>
          <a:p>
            <a:r>
              <a:rPr lang="ru-RU" sz="1000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 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– ПХМК ; </a:t>
            </a:r>
          </a:p>
          <a:p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 -  НОУ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райгыров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Университет</a:t>
            </a:r>
          </a:p>
          <a:p>
            <a:endParaRPr lang="ru-RU" sz="1000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учено – 2</a:t>
            </a:r>
            <a:r>
              <a:rPr lang="en-US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8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чел., </a:t>
            </a:r>
          </a:p>
          <a:p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иняты на завод – 1</a:t>
            </a:r>
            <a:r>
              <a:rPr lang="en-US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3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чел. (7</a:t>
            </a:r>
            <a:r>
              <a:rPr lang="en-US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%)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4541625" y="3097748"/>
            <a:ext cx="754316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ЖАС МАМАН</a:t>
            </a:r>
          </a:p>
          <a:p>
            <a:pPr algn="just"/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: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Подготовка кадров для предприятия в учебных заведениях РК, СНГ из числа выпускников школ, колледжей Павлодарской области </a:t>
            </a:r>
            <a:endParaRPr lang="ru-RU" sz="1000" b="1" i="1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АРТНЕРЫ, УЧЕБНЫЕ ЗАВЕДЕНИЯ: </a:t>
            </a:r>
          </a:p>
          <a:p>
            <a:pPr algn="just"/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- Уфимский государственный нефтяной технический университет с 2012 г. по 2019 г.  Обучено и трудоустроено на завод -  21 чел.</a:t>
            </a:r>
          </a:p>
          <a:p>
            <a:pPr algn="just"/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- Российский государственный университет нефти и газа им. И.М. Губкина (РГУ) – с 2017 г.</a:t>
            </a:r>
            <a:r>
              <a:rPr lang="en-US" sz="10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по 2022 г. Обучено и трудоустроено на завод – 4 чел.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572001" y="4328657"/>
            <a:ext cx="74126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КА НА ЗАВОДЕ СТУДЕНТОВ ВУЗОВ И КОЛЛЕДЖЕЙ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9537098"/>
              </p:ext>
            </p:extLst>
          </p:nvPr>
        </p:nvGraphicFramePr>
        <p:xfrm>
          <a:off x="4641272" y="4652386"/>
          <a:ext cx="7431279" cy="441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69390">
                  <a:extLst>
                    <a:ext uri="{9D8B030D-6E8A-4147-A177-3AD203B41FA5}">
                      <a16:colId xmlns:a16="http://schemas.microsoft.com/office/drawing/2014/main" val="3588736061"/>
                    </a:ext>
                  </a:extLst>
                </a:gridCol>
                <a:gridCol w="767448">
                  <a:extLst>
                    <a:ext uri="{9D8B030D-6E8A-4147-A177-3AD203B41FA5}">
                      <a16:colId xmlns:a16="http://schemas.microsoft.com/office/drawing/2014/main" val="108247911"/>
                    </a:ext>
                  </a:extLst>
                </a:gridCol>
                <a:gridCol w="942809">
                  <a:extLst>
                    <a:ext uri="{9D8B030D-6E8A-4147-A177-3AD203B41FA5}">
                      <a16:colId xmlns:a16="http://schemas.microsoft.com/office/drawing/2014/main" val="3497413370"/>
                    </a:ext>
                  </a:extLst>
                </a:gridCol>
                <a:gridCol w="873457">
                  <a:extLst>
                    <a:ext uri="{9D8B030D-6E8A-4147-A177-3AD203B41FA5}">
                      <a16:colId xmlns:a16="http://schemas.microsoft.com/office/drawing/2014/main" val="2073102221"/>
                    </a:ext>
                  </a:extLst>
                </a:gridCol>
                <a:gridCol w="750627">
                  <a:extLst>
                    <a:ext uri="{9D8B030D-6E8A-4147-A177-3AD203B41FA5}">
                      <a16:colId xmlns:a16="http://schemas.microsoft.com/office/drawing/2014/main" val="2861157576"/>
                    </a:ext>
                  </a:extLst>
                </a:gridCol>
                <a:gridCol w="1727548">
                  <a:extLst>
                    <a:ext uri="{9D8B030D-6E8A-4147-A177-3AD203B41FA5}">
                      <a16:colId xmlns:a16="http://schemas.microsoft.com/office/drawing/2014/main" val="4152474615"/>
                    </a:ext>
                  </a:extLst>
                </a:gridCol>
              </a:tblGrid>
              <a:tr h="199269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Годы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18 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19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0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1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6</a:t>
                      </a:r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 мес.  2022 г.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411789"/>
                  </a:ext>
                </a:extLst>
              </a:tr>
              <a:tr h="220313"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Кол-во практикантов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56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199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68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66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185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2266820"/>
                  </a:ext>
                </a:extLst>
              </a:tr>
            </a:tbl>
          </a:graphicData>
        </a:graphic>
      </p:graphicFrame>
      <p:sp>
        <p:nvSpPr>
          <p:cNvPr id="49" name="Прямоугольник 48"/>
          <p:cNvSpPr/>
          <p:nvPr/>
        </p:nvSpPr>
        <p:spPr>
          <a:xfrm>
            <a:off x="6916042" y="5060477"/>
            <a:ext cx="286949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АДРОВЫЙ РЕЗЕРВ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3243338"/>
              </p:ext>
            </p:extLst>
          </p:nvPr>
        </p:nvGraphicFramePr>
        <p:xfrm>
          <a:off x="4641272" y="5351255"/>
          <a:ext cx="7443519" cy="436292"/>
        </p:xfrm>
        <a:graphic>
          <a:graphicData uri="http://schemas.openxmlformats.org/drawingml/2006/table">
            <a:tbl>
              <a:tblPr/>
              <a:tblGrid>
                <a:gridCol w="1690711">
                  <a:extLst>
                    <a:ext uri="{9D8B030D-6E8A-4147-A177-3AD203B41FA5}">
                      <a16:colId xmlns:a16="http://schemas.microsoft.com/office/drawing/2014/main" val="2867332898"/>
                    </a:ext>
                  </a:extLst>
                </a:gridCol>
                <a:gridCol w="1219172">
                  <a:extLst>
                    <a:ext uri="{9D8B030D-6E8A-4147-A177-3AD203B41FA5}">
                      <a16:colId xmlns:a16="http://schemas.microsoft.com/office/drawing/2014/main" val="2403068950"/>
                    </a:ext>
                  </a:extLst>
                </a:gridCol>
                <a:gridCol w="1548174">
                  <a:extLst>
                    <a:ext uri="{9D8B030D-6E8A-4147-A177-3AD203B41FA5}">
                      <a16:colId xmlns:a16="http://schemas.microsoft.com/office/drawing/2014/main" val="3847441973"/>
                    </a:ext>
                  </a:extLst>
                </a:gridCol>
                <a:gridCol w="1238146">
                  <a:extLst>
                    <a:ext uri="{9D8B030D-6E8A-4147-A177-3AD203B41FA5}">
                      <a16:colId xmlns:a16="http://schemas.microsoft.com/office/drawing/2014/main" val="692474092"/>
                    </a:ext>
                  </a:extLst>
                </a:gridCol>
                <a:gridCol w="1747316">
                  <a:extLst>
                    <a:ext uri="{9D8B030D-6E8A-4147-A177-3AD203B41FA5}">
                      <a16:colId xmlns:a16="http://schemas.microsoft.com/office/drawing/2014/main" val="3855520380"/>
                    </a:ext>
                  </a:extLst>
                </a:gridCol>
              </a:tblGrid>
              <a:tr h="267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ключевых должностей</a:t>
                      </a:r>
                    </a:p>
                  </a:txBody>
                  <a:tcPr marL="4786" marR="4786" marT="4786" marB="0" anchor="ctr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-во резервистов</a:t>
                      </a:r>
                    </a:p>
                  </a:txBody>
                  <a:tcPr marL="4786" marR="4786" marT="4786" marB="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 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.ч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исты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900" b="1" i="0" u="none" strike="noStrike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5-лет</a:t>
                      </a:r>
                    </a:p>
                  </a:txBody>
                  <a:tcPr marL="4786" marR="4786" marT="4786" marB="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-во 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значенных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истов</a:t>
                      </a:r>
                    </a:p>
                  </a:txBody>
                  <a:tcPr marL="4786" marR="4786" marT="4786" marB="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значения</a:t>
                      </a:r>
                      <a:r>
                        <a:rPr lang="ru-RU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з </a:t>
                      </a:r>
                      <a:r>
                        <a:rPr lang="ru-RU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адрового </a:t>
                      </a:r>
                      <a:r>
                        <a:rPr lang="ru-RU" sz="9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зерв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86" marR="4786" marT="4786" marB="0" anchor="ctr">
                    <a:lnL w="9525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945672"/>
                  </a:ext>
                </a:extLst>
              </a:tr>
              <a:tr h="1163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8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86" marR="4786" marT="4786" marB="0" anchor="ctr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9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86" marR="4786" marT="4786" marB="0" anchor="ctr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1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86" marR="4786" marT="4786" marB="0" anchor="ctr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86" marR="4786" marT="4786" marB="0" anchor="ctr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0</a:t>
                      </a:r>
                      <a:r>
                        <a:rPr lang="ru-RU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786" marR="4786" marT="4786" marB="0" anchor="ctr">
                    <a:lnL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825136"/>
                  </a:ext>
                </a:extLst>
              </a:tr>
            </a:tbl>
          </a:graphicData>
        </a:graphic>
      </p:graphicFrame>
      <p:sp>
        <p:nvSpPr>
          <p:cNvPr id="51" name="Прямоугольник 50"/>
          <p:cNvSpPr/>
          <p:nvPr/>
        </p:nvSpPr>
        <p:spPr>
          <a:xfrm>
            <a:off x="4641271" y="5868639"/>
            <a:ext cx="744351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ВИТИЕ ТАЛАНТОВ</a:t>
            </a:r>
          </a:p>
          <a:p>
            <a:pPr algn="just"/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Ежегодно на ПНХЗ проводятся конкурсы, способствующие выявлению и развитию талантливых кадров: </a:t>
            </a:r>
            <a:r>
              <a:rPr lang="ru-RU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kk-KZ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Үздік маман</a:t>
            </a:r>
            <a:r>
              <a:rPr lang="ru-RU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», «Лучший технолог», «Лучшее технологическое решение», «Лучшее новаторское решение», «Лучшее производство», «Лучшая бригада</a:t>
            </a:r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.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Также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работники активно принимают участие в областных и республиканских конкурсах </a:t>
            </a:r>
            <a:r>
              <a:rPr lang="ru-RU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kk-KZ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Еңбек жолы</a:t>
            </a:r>
            <a:r>
              <a:rPr lang="ru-RU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»,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«Премия </a:t>
            </a:r>
            <a:r>
              <a:rPr lang="ru-RU" sz="10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Ерт</a:t>
            </a:r>
            <a:r>
              <a:rPr lang="kk-KZ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і</a:t>
            </a:r>
            <a:r>
              <a:rPr lang="ru-RU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с </a:t>
            </a:r>
            <a:r>
              <a:rPr lang="ru-RU" sz="10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Дарыны</a:t>
            </a:r>
            <a:r>
              <a:rPr lang="ru-RU" sz="1000" b="1" dirty="0"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</p:txBody>
      </p:sp>
      <p:graphicFrame>
        <p:nvGraphicFramePr>
          <p:cNvPr id="52" name="Диаграмма 51"/>
          <p:cNvGraphicFramePr/>
          <p:nvPr>
            <p:extLst>
              <p:ext uri="{D42A27DB-BD31-4B8C-83A1-F6EECF244321}">
                <p14:modId xmlns:p14="http://schemas.microsoft.com/office/powerpoint/2010/main" val="1531695880"/>
              </p:ext>
            </p:extLst>
          </p:nvPr>
        </p:nvGraphicFramePr>
        <p:xfrm>
          <a:off x="4600696" y="1608499"/>
          <a:ext cx="5029224" cy="1580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81945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4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35527" y="195225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ДИСЦИПЛИНАРНЫЕ ВЗЫСКАНИЯ / НАГРАЖДЕНИЕ РАБОТНИКОВ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4085641"/>
              </p:ext>
            </p:extLst>
          </p:nvPr>
        </p:nvGraphicFramePr>
        <p:xfrm>
          <a:off x="289445" y="1062445"/>
          <a:ext cx="4351827" cy="130381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266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6466">
                  <a:extLst>
                    <a:ext uri="{9D8B030D-6E8A-4147-A177-3AD203B41FA5}">
                      <a16:colId xmlns:a16="http://schemas.microsoft.com/office/drawing/2014/main" val="4285971451"/>
                    </a:ext>
                  </a:extLst>
                </a:gridCol>
                <a:gridCol w="11686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1853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иды </a:t>
                      </a: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исциплинарных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взысканий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1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2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668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0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Замечание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4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08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Выговор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3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5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20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трогий выговор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1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3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943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C00000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сего за 6 мес.:</a:t>
                      </a:r>
                      <a:endParaRPr lang="ru-RU" sz="1200" b="1" dirty="0">
                        <a:solidFill>
                          <a:srgbClr val="C00000"/>
                        </a:solidFill>
                        <a:effectLst/>
                        <a:latin typeface="Century Gothic" panose="020B0502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C0000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C00000"/>
                          </a:solidFill>
                          <a:effectLst/>
                          <a:latin typeface="Century Gothic" panose="020B0502020202020204" pitchFamily="34" charset="0"/>
                          <a:ea typeface="Times New Roman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50043" marR="50043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1771734998"/>
              </p:ext>
            </p:extLst>
          </p:nvPr>
        </p:nvGraphicFramePr>
        <p:xfrm>
          <a:off x="289445" y="2590800"/>
          <a:ext cx="4668610" cy="2412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Скругленный прямоугольник 21"/>
          <p:cNvSpPr/>
          <p:nvPr/>
        </p:nvSpPr>
        <p:spPr>
          <a:xfrm>
            <a:off x="157104" y="5003032"/>
            <a:ext cx="4776721" cy="1736401"/>
          </a:xfrm>
          <a:prstGeom prst="round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В</a:t>
            </a:r>
            <a:r>
              <a:rPr lang="ru-RU" sz="1200" dirty="0" err="1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6 мес. 2022 года  работниками предприятия допущено 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</a:t>
            </a:r>
            <a:r>
              <a:rPr lang="ru-RU" sz="1200" b="1" dirty="0" smtClean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рушений, в </a:t>
            </a:r>
            <a:r>
              <a:rPr lang="ru-RU" sz="1200" dirty="0" err="1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.ч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:  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5 -</a:t>
            </a:r>
            <a:r>
              <a:rPr lang="ru-RU" sz="1200" b="1" dirty="0" smtClean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вязано 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 н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рушениями 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орм Правил закупок товаров, работ и услуг АО ФНБ 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ru-RU" sz="1200" dirty="0" err="1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амрук-Казына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,</a:t>
            </a:r>
            <a:r>
              <a:rPr lang="ru-RU" sz="1200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r>
            <a:r>
              <a:rPr lang="ru-RU" sz="1200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  с ненадлежащим исполнением должностных обязанностей, в </a:t>
            </a:r>
            <a:r>
              <a:rPr lang="ru-RU" sz="1200" dirty="0" err="1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.ч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: 2- неправильная сборка тех. схемы по ПКОН, 1 – отсутствие на рабочем месте </a:t>
            </a:r>
            <a:r>
              <a:rPr lang="ru-RU" sz="1200" dirty="0" err="1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МТСиКО</a:t>
            </a:r>
            <a:endParaRPr lang="ru-RU" sz="1200" dirty="0" smtClean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 сравнению  с аналогичным периодом 2021 года количество нарушений увеличилось на 1.</a:t>
            </a:r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67541" y="693113"/>
            <a:ext cx="42737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РУШЕНИЯ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6906528"/>
              </p:ext>
            </p:extLst>
          </p:nvPr>
        </p:nvGraphicFramePr>
        <p:xfrm>
          <a:off x="5041937" y="1038500"/>
          <a:ext cx="6991890" cy="4308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82053">
                  <a:extLst>
                    <a:ext uri="{9D8B030D-6E8A-4147-A177-3AD203B41FA5}">
                      <a16:colId xmlns:a16="http://schemas.microsoft.com/office/drawing/2014/main" val="396079934"/>
                    </a:ext>
                  </a:extLst>
                </a:gridCol>
                <a:gridCol w="531228">
                  <a:extLst>
                    <a:ext uri="{9D8B030D-6E8A-4147-A177-3AD203B41FA5}">
                      <a16:colId xmlns:a16="http://schemas.microsoft.com/office/drawing/2014/main" val="1333468511"/>
                    </a:ext>
                  </a:extLst>
                </a:gridCol>
                <a:gridCol w="640935">
                  <a:extLst>
                    <a:ext uri="{9D8B030D-6E8A-4147-A177-3AD203B41FA5}">
                      <a16:colId xmlns:a16="http://schemas.microsoft.com/office/drawing/2014/main" val="2107560697"/>
                    </a:ext>
                  </a:extLst>
                </a:gridCol>
                <a:gridCol w="2037674">
                  <a:extLst>
                    <a:ext uri="{9D8B030D-6E8A-4147-A177-3AD203B41FA5}">
                      <a16:colId xmlns:a16="http://schemas.microsoft.com/office/drawing/2014/main" val="1942121664"/>
                    </a:ext>
                  </a:extLst>
                </a:gridCol>
              </a:tblGrid>
              <a:tr h="270248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аграждения за 6 мес.</a:t>
                      </a:r>
                      <a:endParaRPr lang="ru-RU" sz="11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1</a:t>
                      </a:r>
                      <a:endParaRPr lang="ru-RU" sz="11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2022</a:t>
                      </a:r>
                      <a:endParaRPr lang="ru-RU" sz="11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Награжденные в 2022 г.</a:t>
                      </a:r>
                      <a:endParaRPr lang="ru-RU" sz="11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100538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Знак за заслуги перед областью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9932603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Медаль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«</a:t>
                      </a:r>
                      <a:r>
                        <a:rPr lang="ru-RU" sz="1100" baseline="0" dirty="0" err="1" smtClean="0">
                          <a:latin typeface="Century Gothic" panose="020B0502020202020204" pitchFamily="34" charset="0"/>
                        </a:rPr>
                        <a:t>Енбек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baseline="0" dirty="0" err="1" smtClean="0">
                          <a:latin typeface="Century Gothic" panose="020B0502020202020204" pitchFamily="34" charset="0"/>
                        </a:rPr>
                        <a:t>ардагері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»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7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Ветераны, 2022 г.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040782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Благодарственное письмо </a:t>
                      </a:r>
                      <a:r>
                        <a:rPr lang="ru-RU" sz="1100" dirty="0" err="1" smtClean="0">
                          <a:latin typeface="Century Gothic" panose="020B0502020202020204" pitchFamily="34" charset="0"/>
                        </a:rPr>
                        <a:t>акима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области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err="1" smtClean="0">
                          <a:latin typeface="Century Gothic" panose="020B0502020202020204" pitchFamily="34" charset="0"/>
                        </a:rPr>
                        <a:t>Куспекова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Б.Р.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8125656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Благодарственное письмо </a:t>
                      </a:r>
                      <a:r>
                        <a:rPr lang="ru-RU" sz="1100" dirty="0" err="1" smtClean="0">
                          <a:latin typeface="Century Gothic" panose="020B0502020202020204" pitchFamily="34" charset="0"/>
                        </a:rPr>
                        <a:t>акима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города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Каирбаева М.С.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131398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Почетная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грамота </a:t>
                      </a:r>
                      <a:r>
                        <a:rPr lang="ru-RU" sz="1100" baseline="0" dirty="0" err="1" smtClean="0">
                          <a:latin typeface="Century Gothic" panose="020B0502020202020204" pitchFamily="34" charset="0"/>
                        </a:rPr>
                        <a:t>акима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области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Обухова С.С.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8374520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Почетная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грамота </a:t>
                      </a:r>
                      <a:r>
                        <a:rPr lang="ru-RU" sz="1100" baseline="0" dirty="0" err="1" smtClean="0">
                          <a:latin typeface="Century Gothic" panose="020B0502020202020204" pitchFamily="34" charset="0"/>
                        </a:rPr>
                        <a:t>акима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города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err="1" smtClean="0">
                          <a:latin typeface="Century Gothic" panose="020B0502020202020204" pitchFamily="34" charset="0"/>
                        </a:rPr>
                        <a:t>Фесик</a:t>
                      </a:r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 Н.С.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342677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Благодарственное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письмо АО ФНБ «</a:t>
                      </a:r>
                      <a:r>
                        <a:rPr lang="ru-RU" sz="1100" baseline="0" dirty="0" err="1" smtClean="0">
                          <a:latin typeface="Century Gothic" panose="020B0502020202020204" pitchFamily="34" charset="0"/>
                        </a:rPr>
                        <a:t>Самрук-Казына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»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Гронская А.А.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730200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Благодарственное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письмо АО НК «</a:t>
                      </a:r>
                      <a:r>
                        <a:rPr lang="ru-RU" sz="1100" baseline="0" dirty="0" err="1" smtClean="0">
                          <a:latin typeface="Century Gothic" panose="020B0502020202020204" pitchFamily="34" charset="0"/>
                        </a:rPr>
                        <a:t>КазМунайГаз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»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036836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Почетная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грамота АО НК «</a:t>
                      </a:r>
                      <a:r>
                        <a:rPr lang="ru-RU" sz="1100" baseline="0" dirty="0" err="1" smtClean="0">
                          <a:latin typeface="Century Gothic" panose="020B0502020202020204" pitchFamily="34" charset="0"/>
                        </a:rPr>
                        <a:t>КазМунайГаз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»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Оноприенко И.А.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1932827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Памятный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 знак АО НК «</a:t>
                      </a:r>
                      <a:r>
                        <a:rPr lang="ru-RU" sz="1100" baseline="0" dirty="0" err="1" smtClean="0">
                          <a:latin typeface="Century Gothic" panose="020B0502020202020204" pitchFamily="34" charset="0"/>
                        </a:rPr>
                        <a:t>КазМунайГаз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»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1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Петрук С.В.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9092051"/>
                  </a:ext>
                </a:extLst>
              </a:tr>
              <a:tr h="479244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Почетная грамота ПНХЗ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5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6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Фролова Н.Г., </a:t>
                      </a:r>
                      <a:r>
                        <a:rPr lang="ru-RU" sz="1100" dirty="0" err="1" smtClean="0">
                          <a:latin typeface="Century Gothic" panose="020B0502020202020204" pitchFamily="34" charset="0"/>
                        </a:rPr>
                        <a:t>Тонышева</a:t>
                      </a:r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 Е.Н., Кустаулетова С.А., Ярушина Е.А., Садовник Е.Т., </a:t>
                      </a:r>
                      <a:r>
                        <a:rPr lang="ru-RU" sz="1100" dirty="0" err="1" smtClean="0">
                          <a:latin typeface="Century Gothic" panose="020B0502020202020204" pitchFamily="34" charset="0"/>
                        </a:rPr>
                        <a:t>Тисбаева</a:t>
                      </a:r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 Г.Н.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293495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Благодарственное</a:t>
                      </a:r>
                      <a:r>
                        <a:rPr lang="ru-RU" sz="1100" baseline="0" dirty="0" smtClean="0">
                          <a:latin typeface="Century Gothic" panose="020B0502020202020204" pitchFamily="34" charset="0"/>
                        </a:rPr>
                        <a:t> письмо ПНХЗ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2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284479"/>
                  </a:ext>
                </a:extLst>
              </a:tr>
              <a:tr h="246883"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latin typeface="Century Gothic" panose="020B0502020202020204" pitchFamily="34" charset="0"/>
                        </a:rPr>
                        <a:t>Итого: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Century Gothic" panose="020B0502020202020204" pitchFamily="34" charset="0"/>
                        </a:rPr>
                        <a:t>20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Century Gothic" panose="020B0502020202020204" pitchFamily="34" charset="0"/>
                        </a:rPr>
                        <a:t>20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903117"/>
                  </a:ext>
                </a:extLst>
              </a:tr>
            </a:tbl>
          </a:graphicData>
        </a:graphic>
      </p:graphicFrame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81" r="660" b="13875"/>
          <a:stretch/>
        </p:blipFill>
        <p:spPr>
          <a:xfrm>
            <a:off x="9013778" y="5492666"/>
            <a:ext cx="2196028" cy="1246769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1129" y="5492666"/>
            <a:ext cx="2262314" cy="1246769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7" name="Прямоугольник 26"/>
          <p:cNvSpPr/>
          <p:nvPr/>
        </p:nvSpPr>
        <p:spPr>
          <a:xfrm>
            <a:off x="5135671" y="693113"/>
            <a:ext cx="68981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ГРАЖДЕНИЯ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6543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5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23001" y="171892"/>
            <a:ext cx="93969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ОБУЧЕНИЕ И РАЗВИТИЕ ПЕРСОНАЛА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7408" y="884439"/>
            <a:ext cx="49027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УЧЕНИЕ И РАЗВИТИЕ ПЕРСОНАЛА 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5403601"/>
              </p:ext>
            </p:extLst>
          </p:nvPr>
        </p:nvGraphicFramePr>
        <p:xfrm>
          <a:off x="223001" y="1407659"/>
          <a:ext cx="4902737" cy="3630432"/>
        </p:xfrm>
        <a:graphic>
          <a:graphicData uri="http://schemas.openxmlformats.org/drawingml/2006/table">
            <a:tbl>
              <a:tblPr>
                <a:tableStyleId>{91EBBBCC-DAD2-459C-BE2E-F6DE35CF9A28}</a:tableStyleId>
              </a:tblPr>
              <a:tblGrid>
                <a:gridCol w="28243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0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13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52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Вид обучения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За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6 мес. 2021 года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За 6 мес.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2022 года</a:t>
                      </a:r>
                      <a:endParaRPr lang="ru-RU" sz="1200" b="1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46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овышение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валификации,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в том числе: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72</a:t>
                      </a: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123</a:t>
                      </a: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821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абочего персонала</a:t>
                      </a:r>
                      <a:endParaRPr lang="ru-RU" sz="1200" b="0" i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17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90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68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СС</a:t>
                      </a:r>
                      <a:endParaRPr lang="ru-RU" sz="1200" b="0" i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55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b="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27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6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одготовка/переподготовка по промышленной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безопасности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48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602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114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Обучени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с использованием тренажерных комплексов 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461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/>
                          <a:cs typeface="Times New Roman" panose="02020603050405020304" pitchFamily="18" charset="0"/>
                        </a:rPr>
                        <a:t>551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46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Расходы на обучени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персонала, тыс. тенге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893,6</a:t>
                      </a:r>
                      <a:endParaRPr lang="en-US" sz="120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onstantia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358,9</a:t>
                      </a:r>
                      <a:endParaRPr lang="ru-RU" sz="120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0" marR="5143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5801643" y="884439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УЧЕНИЕ НА КОМПЬЮТЕРНЫХ ТРЕНАЖЕРНЫХ КОМПЛЕКСАХ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7663900"/>
              </p:ext>
            </p:extLst>
          </p:nvPr>
        </p:nvGraphicFramePr>
        <p:xfrm>
          <a:off x="5320144" y="1407659"/>
          <a:ext cx="6716685" cy="3914474"/>
        </p:xfrm>
        <a:graphic>
          <a:graphicData uri="http://schemas.openxmlformats.org/drawingml/2006/table">
            <a:tbl>
              <a:tblPr/>
              <a:tblGrid>
                <a:gridCol w="928256">
                  <a:extLst>
                    <a:ext uri="{9D8B030D-6E8A-4147-A177-3AD203B41FA5}">
                      <a16:colId xmlns:a16="http://schemas.microsoft.com/office/drawing/2014/main" val="4227816802"/>
                    </a:ext>
                  </a:extLst>
                </a:gridCol>
                <a:gridCol w="1277815">
                  <a:extLst>
                    <a:ext uri="{9D8B030D-6E8A-4147-A177-3AD203B41FA5}">
                      <a16:colId xmlns:a16="http://schemas.microsoft.com/office/drawing/2014/main" val="1849834658"/>
                    </a:ext>
                  </a:extLst>
                </a:gridCol>
                <a:gridCol w="1234605">
                  <a:extLst>
                    <a:ext uri="{9D8B030D-6E8A-4147-A177-3AD203B41FA5}">
                      <a16:colId xmlns:a16="http://schemas.microsoft.com/office/drawing/2014/main" val="1690077868"/>
                    </a:ext>
                  </a:extLst>
                </a:gridCol>
                <a:gridCol w="849335">
                  <a:extLst>
                    <a:ext uri="{9D8B030D-6E8A-4147-A177-3AD203B41FA5}">
                      <a16:colId xmlns:a16="http://schemas.microsoft.com/office/drawing/2014/main" val="1878168535"/>
                    </a:ext>
                  </a:extLst>
                </a:gridCol>
                <a:gridCol w="795507">
                  <a:extLst>
                    <a:ext uri="{9D8B030D-6E8A-4147-A177-3AD203B41FA5}">
                      <a16:colId xmlns:a16="http://schemas.microsoft.com/office/drawing/2014/main" val="1870628164"/>
                    </a:ext>
                  </a:extLst>
                </a:gridCol>
                <a:gridCol w="908130">
                  <a:extLst>
                    <a:ext uri="{9D8B030D-6E8A-4147-A177-3AD203B41FA5}">
                      <a16:colId xmlns:a16="http://schemas.microsoft.com/office/drawing/2014/main" val="2729284337"/>
                    </a:ext>
                  </a:extLst>
                </a:gridCol>
                <a:gridCol w="723037">
                  <a:extLst>
                    <a:ext uri="{9D8B030D-6E8A-4147-A177-3AD203B41FA5}">
                      <a16:colId xmlns:a16="http://schemas.microsoft.com/office/drawing/2014/main" val="3675421277"/>
                    </a:ext>
                  </a:extLst>
                </a:gridCol>
              </a:tblGrid>
              <a:tr h="286551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роизв. комплекс</a:t>
                      </a:r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Наименование </a:t>
                      </a:r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и</a:t>
                      </a:r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Дата ввода в </a:t>
                      </a:r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эксплуатацию КТК</a:t>
                      </a:r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Количество  </a:t>
                      </a:r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обученных 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о  темам тренингов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28" marR="7228" marT="72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21" marR="5421" marT="54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525235"/>
                  </a:ext>
                </a:extLst>
              </a:tr>
              <a:tr h="353679">
                <a:tc vMerge="1">
                  <a:txBody>
                    <a:bodyPr/>
                    <a:lstStyle/>
                    <a:p>
                      <a:pPr algn="l" fontAlgn="t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8" marR="7228" marT="722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8" marR="7228" marT="722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28" marR="7228" marT="722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19 год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0 год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1 год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мес. 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022 г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402082"/>
                  </a:ext>
                </a:extLst>
              </a:tr>
              <a:tr h="603365">
                <a:tc>
                  <a:txBody>
                    <a:bodyPr/>
                    <a:lstStyle/>
                    <a:p>
                      <a:pPr marL="180000" algn="l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ПТНО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замедленного коксования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06.12.2019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6 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29 </a:t>
                      </a:r>
                      <a:endParaRPr lang="ru-RU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9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5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8423507"/>
                  </a:ext>
                </a:extLst>
              </a:tr>
              <a:tr h="711357">
                <a:tc>
                  <a:txBody>
                    <a:bodyPr/>
                    <a:lstStyle/>
                    <a:p>
                      <a:pPr marL="180000" algn="l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СН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изомеризации и </a:t>
                      </a:r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сплиттера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нафты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7.02.2020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05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8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09</a:t>
                      </a:r>
                      <a:endParaRPr lang="ru-RU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413708"/>
                  </a:ext>
                </a:extLst>
              </a:tr>
              <a:tr h="888073">
                <a:tc>
                  <a:txBody>
                    <a:bodyPr/>
                    <a:lstStyle/>
                    <a:p>
                      <a:pPr marL="180000" algn="l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ППН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гидроочистки дизельного топлива и керосина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31.12.2020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17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6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913081"/>
                  </a:ext>
                </a:extLst>
              </a:tr>
              <a:tr h="534640">
                <a:tc>
                  <a:txBody>
                    <a:bodyPr/>
                    <a:lstStyle/>
                    <a:p>
                      <a:pPr marL="180000" algn="l" rtl="0" fontAlgn="ctr"/>
                      <a:r>
                        <a:rPr lang="ru-RU" sz="12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ПСиОЗХ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Установка производства серы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4 кв. 2021 г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48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92</a:t>
                      </a:r>
                      <a:endParaRPr lang="ru-RU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624667"/>
                  </a:ext>
                </a:extLst>
              </a:tr>
              <a:tr h="357924">
                <a:tc>
                  <a:txBody>
                    <a:bodyPr/>
                    <a:lstStyle/>
                    <a:p>
                      <a:pPr marL="180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ВСЕГО: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96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234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103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Times New Roman" panose="02020603050405020304" pitchFamily="18" charset="0"/>
                        </a:rPr>
                        <a:t>551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421" marR="5421" marT="5421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192631"/>
                  </a:ext>
                </a:extLst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215279" y="6186922"/>
            <a:ext cx="51048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** На </a:t>
            </a:r>
            <a:r>
              <a:rPr lang="ru-RU" sz="14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2022 год утвержденный </a:t>
            </a:r>
            <a:r>
              <a:rPr lang="ru-RU" sz="14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бюджет на </a:t>
            </a:r>
            <a:r>
              <a:rPr lang="ru-RU" sz="14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обучение  -   </a:t>
            </a:r>
            <a:r>
              <a:rPr lang="en-US" sz="14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142,17</a:t>
            </a:r>
            <a:r>
              <a:rPr lang="ru-RU" sz="14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 млн. тенге 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9426" y="5511055"/>
            <a:ext cx="1881679" cy="1156793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7" t="20211" r="577" b="9540"/>
          <a:stretch/>
        </p:blipFill>
        <p:spPr>
          <a:xfrm>
            <a:off x="7819157" y="5511055"/>
            <a:ext cx="1809875" cy="1154655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18" b="6926"/>
          <a:stretch/>
        </p:blipFill>
        <p:spPr>
          <a:xfrm>
            <a:off x="9917084" y="5511055"/>
            <a:ext cx="1838864" cy="1154655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7" name="Прямоугольник 26"/>
          <p:cNvSpPr/>
          <p:nvPr/>
        </p:nvSpPr>
        <p:spPr>
          <a:xfrm>
            <a:off x="223002" y="5448258"/>
            <a:ext cx="509714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* В связи с изменением правил закупа услуг по обучению, корпоративные семинары перенесены на 2 полугодие 2022 года</a:t>
            </a:r>
            <a:endParaRPr lang="ru-RU" sz="1400" b="1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922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6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23001" y="171892"/>
            <a:ext cx="93969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КОНКУРС «ҮЗДІК МАМАН - 2022»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97649" y="1052301"/>
            <a:ext cx="98232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ПЕРИОД С 16 МАЯ ПО 28 ИЮНЯ 2022 ГОДА  В ТОО «ПНХЗ» ПРОШЕЛ </a:t>
            </a:r>
            <a:r>
              <a:rPr lang="en-US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ЭТАП КОНКУРСА «ҮЗДІК МАМАН»</a:t>
            </a:r>
            <a:r>
              <a:rPr lang="kk-KZ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0401856"/>
              </p:ext>
            </p:extLst>
          </p:nvPr>
        </p:nvGraphicFramePr>
        <p:xfrm>
          <a:off x="366060" y="1524294"/>
          <a:ext cx="10821363" cy="25459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89315">
                  <a:extLst>
                    <a:ext uri="{9D8B030D-6E8A-4147-A177-3AD203B41FA5}">
                      <a16:colId xmlns:a16="http://schemas.microsoft.com/office/drawing/2014/main" val="342672999"/>
                    </a:ext>
                  </a:extLst>
                </a:gridCol>
                <a:gridCol w="3367405">
                  <a:extLst>
                    <a:ext uri="{9D8B030D-6E8A-4147-A177-3AD203B41FA5}">
                      <a16:colId xmlns:a16="http://schemas.microsoft.com/office/drawing/2014/main" val="3858632168"/>
                    </a:ext>
                  </a:extLst>
                </a:gridCol>
                <a:gridCol w="3264643">
                  <a:extLst>
                    <a:ext uri="{9D8B030D-6E8A-4147-A177-3AD203B41FA5}">
                      <a16:colId xmlns:a16="http://schemas.microsoft.com/office/drawing/2014/main" val="2319684670"/>
                    </a:ext>
                  </a:extLst>
                </a:gridCol>
              </a:tblGrid>
              <a:tr h="286416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Победители конкурса,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 занявшие 1 места в номинациях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 опытом работы более 3-х лет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 опытом работы менее  3-х лет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6881687"/>
                  </a:ext>
                </a:extLst>
              </a:tr>
              <a:tr h="1856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Ф.И.О., структурное 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одраздел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Ф.И.О, структурное </a:t>
                      </a: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одраздел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487868"/>
                  </a:ext>
                </a:extLst>
              </a:tr>
              <a:tr h="375956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Лучший оператор технологических установок»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Бабенк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нтон Валерьевич, ПППН 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остников Сергей Васильевич, ПСН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81728"/>
                  </a:ext>
                </a:extLst>
              </a:tr>
              <a:tr h="382417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«Лучший оператор товарный»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Жусупбаев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ирас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мидоллаевич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КОН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2282238"/>
                  </a:ext>
                </a:extLst>
              </a:tr>
              <a:tr h="394540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Лучший машинист технологических насосов»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акенов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ыссудан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шербекович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ПСН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ващенко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Александр Олегович, 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СиОЗХ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7705737"/>
                  </a:ext>
                </a:extLst>
              </a:tr>
              <a:tr h="372575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Лучший машинист компрессорных установок»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скаков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ауыржан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кенович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ПГПН</a:t>
                      </a:r>
                      <a:endParaRPr lang="ru-RU" sz="120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йдаргалин Дастан Берикович, ПГПН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23828"/>
                  </a:ext>
                </a:extLst>
              </a:tr>
              <a:tr h="524762">
                <a:tc>
                  <a:txBody>
                    <a:bodyPr/>
                    <a:lstStyle/>
                    <a:p>
                      <a:pPr marL="72000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«Лучший лаборант химического анализа»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овк Дарья Владимировна,</a:t>
                      </a:r>
                      <a:r>
                        <a:rPr lang="kk-KZ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kk-KZ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</a:br>
                      <a:r>
                        <a:rPr lang="kk-KZ" sz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нитарная лаборатория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76292"/>
                  </a:ext>
                </a:extLst>
              </a:tr>
            </a:tbl>
          </a:graphicData>
        </a:graphic>
      </p:graphicFrame>
      <p:grpSp>
        <p:nvGrpSpPr>
          <p:cNvPr id="2" name="Группа 1"/>
          <p:cNvGrpSpPr/>
          <p:nvPr/>
        </p:nvGrpSpPr>
        <p:grpSpPr>
          <a:xfrm>
            <a:off x="366060" y="4534422"/>
            <a:ext cx="11408405" cy="1728592"/>
            <a:chOff x="898854" y="4732696"/>
            <a:chExt cx="9899688" cy="1432560"/>
          </a:xfrm>
        </p:grpSpPr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8854" y="4732696"/>
              <a:ext cx="2148840" cy="1432560"/>
            </a:xfrm>
            <a:prstGeom prst="rect">
              <a:avLst/>
            </a:prstGeom>
            <a:ln>
              <a:noFill/>
            </a:ln>
            <a:effectLst>
              <a:softEdge rad="63500"/>
            </a:effectLst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30314" y="4732696"/>
              <a:ext cx="2005570" cy="1432560"/>
            </a:xfrm>
            <a:prstGeom prst="rect">
              <a:avLst/>
            </a:prstGeom>
            <a:ln>
              <a:noFill/>
            </a:ln>
            <a:effectLst>
              <a:softEdge rad="63500"/>
            </a:effectLst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8283" y="4732696"/>
              <a:ext cx="2168881" cy="1432560"/>
            </a:xfrm>
            <a:prstGeom prst="rect">
              <a:avLst/>
            </a:prstGeom>
            <a:ln>
              <a:noFill/>
            </a:ln>
            <a:effectLst>
              <a:softEdge rad="63500"/>
            </a:effectLst>
          </p:spPr>
        </p:pic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17024" y="4732696"/>
              <a:ext cx="2081518" cy="1432560"/>
            </a:xfrm>
            <a:prstGeom prst="rect">
              <a:avLst/>
            </a:prstGeom>
            <a:ln>
              <a:noFill/>
            </a:ln>
            <a:effectLst>
              <a:softEdge rad="63500"/>
            </a:effectLst>
          </p:spPr>
        </p:pic>
      </p:grpSp>
    </p:spTree>
    <p:extLst>
      <p:ext uri="{BB962C8B-B14F-4D97-AF65-F5344CB8AC3E}">
        <p14:creationId xmlns:p14="http://schemas.microsoft.com/office/powerpoint/2010/main" val="96494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7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117593" y="107434"/>
            <a:ext cx="93969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РЕЗУЛЬТАТЫ ИССЛЕДОВАНИЙ ИНДЕКСА СОЦИАЛЬНОЙ СТАБИЛЬНОСТИ</a:t>
            </a:r>
            <a:endParaRPr lang="en-US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ТОО «ПНХЗ» ЗА I-Е ПОЛУГОДИЕ 2022 ГОДА</a:t>
            </a: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187066" y="1532238"/>
            <a:ext cx="2068827" cy="184478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Century Gothic" panose="020B0502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319367" y="1945441"/>
            <a:ext cx="1725907" cy="1014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екс социальной стабильности – </a:t>
            </a:r>
            <a:r>
              <a:rPr lang="ru-RU" sz="14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8%</a:t>
            </a:r>
            <a:endParaRPr lang="ru-RU" sz="1400" dirty="0">
              <a:solidFill>
                <a:srgbClr val="C00000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231499" y="1015545"/>
            <a:ext cx="7597588" cy="978210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506305" y="1296283"/>
            <a:ext cx="20088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ВОВЛЕЧЕННОСТЬ</a:t>
            </a:r>
            <a:r>
              <a:rPr lang="ru-RU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091882" y="1105834"/>
            <a:ext cx="47372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условия </a:t>
            </a:r>
            <a:r>
              <a:rPr lang="ru-RU" sz="1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и безопасность труда </a:t>
            </a:r>
            <a:endParaRPr lang="en-US" sz="1400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справедливость, доверие и лояльность </a:t>
            </a:r>
            <a:endParaRPr lang="en-US" sz="1400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понимание поручений и взаимоотношения</a:t>
            </a:r>
          </a:p>
        </p:txBody>
      </p:sp>
      <p:sp>
        <p:nvSpPr>
          <p:cNvPr id="5" name="Пятиугольник 4"/>
          <p:cNvSpPr/>
          <p:nvPr/>
        </p:nvSpPr>
        <p:spPr>
          <a:xfrm flipH="1">
            <a:off x="2449649" y="1015545"/>
            <a:ext cx="1781849" cy="963247"/>
          </a:xfrm>
          <a:prstGeom prst="homePlat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137966" y="1080256"/>
            <a:ext cx="1023547" cy="353623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8%</a:t>
            </a:r>
            <a:endParaRPr lang="ru-RU" sz="1400" dirty="0">
              <a:solidFill>
                <a:srgbClr val="C00000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2908228" y="1376562"/>
            <a:ext cx="1323271" cy="584134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 smtClean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бильная ситуац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237178" y="2042445"/>
            <a:ext cx="7597588" cy="820372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4506305" y="2137613"/>
            <a:ext cx="182614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СОЦИАЛЬНОЕ </a:t>
            </a:r>
            <a:endParaRPr lang="en-US" sz="1600" b="1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БЛАГОПОЛУЧИЕ</a:t>
            </a:r>
            <a:endParaRPr 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091882" y="2132734"/>
            <a:ext cx="4645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социальное самочувствие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материальное благосостояние</a:t>
            </a:r>
          </a:p>
        </p:txBody>
      </p:sp>
      <p:sp>
        <p:nvSpPr>
          <p:cNvPr id="24" name="Пятиугольник 23"/>
          <p:cNvSpPr/>
          <p:nvPr/>
        </p:nvSpPr>
        <p:spPr>
          <a:xfrm flipH="1">
            <a:off x="2449650" y="2042445"/>
            <a:ext cx="1787528" cy="806961"/>
          </a:xfrm>
          <a:prstGeom prst="homePlat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3143645" y="2107156"/>
            <a:ext cx="1023547" cy="335733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</a:t>
            </a:r>
            <a:r>
              <a:rPr lang="en-US" sz="14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ru-RU" sz="14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  <a:endParaRPr lang="ru-RU" sz="1400" dirty="0">
              <a:solidFill>
                <a:srgbClr val="C00000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733477" y="2312244"/>
            <a:ext cx="1573687" cy="584134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пряженная </a:t>
            </a:r>
            <a:r>
              <a:rPr lang="ru-RU" sz="1400" b="1" dirty="0" smtClean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итуация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237178" y="2976576"/>
            <a:ext cx="7597588" cy="820372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4506305" y="3071744"/>
            <a:ext cx="171232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СОЦИАЛЬНОЕ</a:t>
            </a:r>
            <a:endParaRPr lang="en-US" sz="1600" b="1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r>
              <a:rPr 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СПОКОЙСТВИЕ</a:t>
            </a:r>
            <a:endParaRPr 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091882" y="3066865"/>
            <a:ext cx="4645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напряженность в коллективах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протестный потенциал</a:t>
            </a:r>
          </a:p>
        </p:txBody>
      </p:sp>
      <p:sp>
        <p:nvSpPr>
          <p:cNvPr id="30" name="Пятиугольник 29"/>
          <p:cNvSpPr/>
          <p:nvPr/>
        </p:nvSpPr>
        <p:spPr>
          <a:xfrm flipH="1">
            <a:off x="2449650" y="2976576"/>
            <a:ext cx="1787528" cy="805410"/>
          </a:xfrm>
          <a:prstGeom prst="homePlat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3143645" y="3041287"/>
            <a:ext cx="1023547" cy="335733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14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4</a:t>
            </a:r>
            <a:r>
              <a:rPr lang="ru-RU" sz="14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  <a:endParaRPr lang="ru-RU" sz="1400" dirty="0">
              <a:solidFill>
                <a:srgbClr val="C00000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733477" y="3246375"/>
            <a:ext cx="1573687" cy="584134"/>
          </a:xfrm>
          <a:prstGeom prst="rect">
            <a:avLst/>
          </a:prstGeom>
          <a:noFill/>
        </p:spPr>
        <p:txBody>
          <a:bodyPr wrap="square" lIns="121920" tIns="60960" rIns="121920" bIns="6096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бильная</a:t>
            </a:r>
            <a:r>
              <a:rPr lang="ru-RU" sz="1400" b="1" dirty="0" smtClean="0">
                <a:solidFill>
                  <a:srgbClr val="2F5597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итуация</a:t>
            </a:r>
          </a:p>
        </p:txBody>
      </p:sp>
      <p:sp>
        <p:nvSpPr>
          <p:cNvPr id="33" name="Заголовок 2"/>
          <p:cNvSpPr txBox="1">
            <a:spLocks/>
          </p:cNvSpPr>
          <p:nvPr/>
        </p:nvSpPr>
        <p:spPr>
          <a:xfrm>
            <a:off x="0" y="4066747"/>
            <a:ext cx="4695568" cy="499604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400" b="1" smtClean="0">
                <a:solidFill>
                  <a:srgbClr val="002060"/>
                </a:solidFill>
                <a:latin typeface="Century Gothic" panose="020B0502020202020204" pitchFamily="34" charset="0"/>
              </a:rPr>
              <a:t>ПНХЗ-ГРУППА КОМПАНИЙ КМГ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34" name="Диаграмма 33"/>
          <p:cNvGraphicFramePr/>
          <p:nvPr>
            <p:extLst/>
          </p:nvPr>
        </p:nvGraphicFramePr>
        <p:xfrm>
          <a:off x="319367" y="4640996"/>
          <a:ext cx="4428381" cy="1866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5" name="Диаграмма 34"/>
          <p:cNvGraphicFramePr/>
          <p:nvPr>
            <p:extLst/>
          </p:nvPr>
        </p:nvGraphicFramePr>
        <p:xfrm>
          <a:off x="4947668" y="4646032"/>
          <a:ext cx="7124884" cy="1861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Прямоугольник 35"/>
          <p:cNvSpPr/>
          <p:nvPr/>
        </p:nvSpPr>
        <p:spPr>
          <a:xfrm>
            <a:off x="5103341" y="4066747"/>
            <a:ext cx="7088659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+mj-cs"/>
              </a:rPr>
              <a:t>МОНИТОРИНГ ИСС ТОО «ПНХЗ» ЗА 2020-2022 ГГ.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396723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8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23001" y="171892"/>
            <a:ext cx="93969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МЕРОПРИЯТИЯ СОВЕТА ПО ДЕЛАМ МОЛОДЕЖИ 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ТОО 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«ПНХЗ»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01" y="941030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3653100" y="2832559"/>
            <a:ext cx="21518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Знакомство новых членов молодых работников с активистами СДМ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4BF7CD0-9F52-28DE-F6D5-04AA33EAD20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41" y="2690298"/>
            <a:ext cx="3091472" cy="1774793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4" name="Прямоугольник 23"/>
          <p:cNvSpPr/>
          <p:nvPr/>
        </p:nvSpPr>
        <p:spPr>
          <a:xfrm>
            <a:off x="3653100" y="4949945"/>
            <a:ext cx="218712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Члены СДМ завоевывают 1-ое и 3-е место в конкурсе «</a:t>
            </a:r>
            <a:r>
              <a:rPr lang="en-US" sz="1200" dirty="0">
                <a:latin typeface="Century Gothic" panose="020B0502020202020204" pitchFamily="34" charset="0"/>
                <a:cs typeface="Arial" panose="020B0604020202020204" pitchFamily="34" charset="0"/>
              </a:rPr>
              <a:t>Smart nation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» на знание послания президента РК среди других предприятий города в здании ЦРМИ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F825351-CC3A-F345-BBBA-70A181F239E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299" y="4658370"/>
            <a:ext cx="3117557" cy="1923543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7" name="TextBox 26"/>
          <p:cNvSpPr txBox="1"/>
          <p:nvPr/>
        </p:nvSpPr>
        <p:spPr>
          <a:xfrm>
            <a:off x="9142439" y="2832559"/>
            <a:ext cx="27369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Производственный </a:t>
            </a:r>
            <a:r>
              <a:rPr lang="ru-RU" sz="1200" dirty="0" err="1">
                <a:latin typeface="Century Gothic" panose="020B0502020202020204" pitchFamily="34" charset="0"/>
                <a:cs typeface="Arial" panose="020B0604020202020204" pitchFamily="34" charset="0"/>
              </a:rPr>
              <a:t>квиз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 на тему «</a:t>
            </a:r>
            <a:r>
              <a:rPr lang="ru-RU" sz="1200" dirty="0" err="1">
                <a:latin typeface="Century Gothic" panose="020B0502020202020204" pitchFamily="34" charset="0"/>
                <a:cs typeface="Arial" panose="020B0604020202020204" pitchFamily="34" charset="0"/>
              </a:rPr>
              <a:t>Нефтепереработчик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» с участием членов СДМ и студентов дуальной формы обучения</a:t>
            </a:r>
            <a:endParaRPr lang="en-US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0029D8D1-2565-F6AF-DC1A-901AFF69186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6242" y="2626078"/>
            <a:ext cx="2829910" cy="1839013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19" name="Прямоугольник 18"/>
          <p:cNvSpPr/>
          <p:nvPr/>
        </p:nvSpPr>
        <p:spPr>
          <a:xfrm>
            <a:off x="1626649" y="822895"/>
            <a:ext cx="1016342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ДАЧИ СДМ </a:t>
            </a:r>
            <a:endParaRPr lang="ru-RU" sz="14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бъединить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олодежь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дприятия;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стоянно работать над повышением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валификации;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инимать активное участие в социально-производственных мероприятиях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вода;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ктивно работать с вновь прибывшей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олодежью</a:t>
            </a:r>
            <a:r>
              <a:rPr lang="en-US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едприятия;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частвовать в реализации политики в области качества, экологии, охраны здоровья и обеспечения труда, энергосбережения и энергоэффективности, корпоративной социальной ответственности ТОО «ПНХЗ</a:t>
            </a:r>
            <a:r>
              <a:rPr 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.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en-US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FED5BF2C-CCE0-1C61-0074-58061A2074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6242" y="4644690"/>
            <a:ext cx="2829910" cy="187894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3" name="Прямоугольник 22"/>
          <p:cNvSpPr/>
          <p:nvPr/>
        </p:nvSpPr>
        <p:spPr>
          <a:xfrm>
            <a:off x="9231793" y="4949945"/>
            <a:ext cx="255828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Совет по делам молодежи поздравляет тружеников тыла Великой Отечественной Войны с 77-летием Победы</a:t>
            </a:r>
          </a:p>
        </p:txBody>
      </p:sp>
    </p:spTree>
    <p:extLst>
      <p:ext uri="{BB962C8B-B14F-4D97-AF65-F5344CB8AC3E}">
        <p14:creationId xmlns:p14="http://schemas.microsoft.com/office/powerpoint/2010/main" val="3094184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9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23001" y="171892"/>
            <a:ext cx="93969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МЕРОПРИЯТИЯ СОВЕТА ПО ДЕЛАМ МОЛОДЕЖИ  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ТОО 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«ПНХЗ»</a:t>
            </a:r>
          </a:p>
        </p:txBody>
      </p:sp>
      <p:pic>
        <p:nvPicPr>
          <p:cNvPr id="14" name="Picture 2" descr="C:\Users\c11-ILAB-IT2\Desktop\Совет молодежи\Лого МС\Лого_ЖасМамандарКенес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605" y="751691"/>
            <a:ext cx="1403648" cy="80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073429" y="6239095"/>
            <a:ext cx="4386639" cy="469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Участие Членов СДМ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</a:t>
            </a:r>
            <a:endParaRPr lang="ru-RU" sz="1200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общегородском Марафоне Чистоты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A02C889F-836D-63F3-E9DA-13C51031534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1" t="19563" r="4655" b="16967"/>
          <a:stretch/>
        </p:blipFill>
        <p:spPr>
          <a:xfrm>
            <a:off x="1325322" y="4353734"/>
            <a:ext cx="4017079" cy="1839295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39236B0A-5F37-4946-910F-A63880EB5B50}"/>
              </a:ext>
            </a:extLst>
          </p:cNvPr>
          <p:cNvSpPr/>
          <p:nvPr/>
        </p:nvSpPr>
        <p:spPr>
          <a:xfrm>
            <a:off x="4186110" y="3639950"/>
            <a:ext cx="32810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Участие активистов СДМ в профориентационном форуме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для</a:t>
            </a:r>
            <a:b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таршеклассников «Путевка 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в жизнь».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A65E839-D0C9-B50A-4A3B-A8DC6145A3D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0084" y="1695773"/>
            <a:ext cx="2913712" cy="1938204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9" name="Прямоугольник 28"/>
          <p:cNvSpPr/>
          <p:nvPr/>
        </p:nvSpPr>
        <p:spPr>
          <a:xfrm>
            <a:off x="7679597" y="3646801"/>
            <a:ext cx="39548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Поездка членов СДМ в коррекционную школу-интернат в село Песчаное для поздравления воспитанников школы с днем защиты детей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FECA559E-3EE3-4417-B7DD-286BAB5557D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42"/>
          <a:stretch/>
        </p:blipFill>
        <p:spPr>
          <a:xfrm>
            <a:off x="444421" y="1641677"/>
            <a:ext cx="3158757" cy="1926943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31" name="Прямоугольник 30"/>
          <p:cNvSpPr/>
          <p:nvPr/>
        </p:nvSpPr>
        <p:spPr>
          <a:xfrm>
            <a:off x="249351" y="3639951"/>
            <a:ext cx="35488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Участие членов СДМ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о 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встрече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 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вице-министром информации и общественного развития Даниловым А.С</a:t>
            </a: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FB4CDEA7-297E-4D7C-B321-CA6EAF7D537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426" b="9655"/>
          <a:stretch/>
        </p:blipFill>
        <p:spPr>
          <a:xfrm>
            <a:off x="6269321" y="4408136"/>
            <a:ext cx="4744650" cy="1730493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41" name="Прямоугольник 40"/>
          <p:cNvSpPr/>
          <p:nvPr/>
        </p:nvSpPr>
        <p:spPr>
          <a:xfrm>
            <a:off x="5826633" y="6126887"/>
            <a:ext cx="58078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Участие членов СДМ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 награждении матерей активных членов первичной партийной организации партии «</a:t>
            </a:r>
            <a:r>
              <a:rPr lang="en-US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AMANAT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 и встреча детей с особыми потребностями в рамках проекта «</a:t>
            </a:r>
            <a:r>
              <a:rPr lang="kk-KZ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Бақытты отбасы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0BFE50CC-2F4C-4124-99C4-72A2FE55A7B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97"/>
          <a:stretch/>
        </p:blipFill>
        <p:spPr>
          <a:xfrm>
            <a:off x="4371796" y="1628503"/>
            <a:ext cx="2909670" cy="1972653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49688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193173" y="176155"/>
            <a:ext cx="80502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ПЛАТЫ ТОО «ПНХЗ» В БЮДЖЕТ РК ЗА 2018-2022 гг.,  млн тенге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4220942"/>
              </p:ext>
            </p:extLst>
          </p:nvPr>
        </p:nvGraphicFramePr>
        <p:xfrm>
          <a:off x="393203" y="952620"/>
          <a:ext cx="11424725" cy="3750638"/>
        </p:xfrm>
        <a:graphic>
          <a:graphicData uri="http://schemas.openxmlformats.org/drawingml/2006/table">
            <a:tbl>
              <a:tblPr/>
              <a:tblGrid>
                <a:gridCol w="39590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42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442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4427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4427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4427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44277">
                  <a:extLst>
                    <a:ext uri="{9D8B030D-6E8A-4147-A177-3AD203B41FA5}">
                      <a16:colId xmlns:a16="http://schemas.microsoft.com/office/drawing/2014/main" val="2793796314"/>
                    </a:ext>
                  </a:extLst>
                </a:gridCol>
              </a:tblGrid>
              <a:tr h="40845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Наименование </a:t>
                      </a:r>
                    </a:p>
                  </a:txBody>
                  <a:tcPr marL="7621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18 </a:t>
                      </a: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год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19 год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0 год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1 год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 мес.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2 года</a:t>
                      </a: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2 год</a:t>
                      </a:r>
                    </a:p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Прогноз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517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Уплачено  платежей в республиканский бюджет, всего</a:t>
                      </a: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 118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52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42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14 055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 878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8 550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83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в том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83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НД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064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00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31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9 269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 746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5 00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83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КП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 288</a:t>
                      </a: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6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19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4 77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 128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3 546           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83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Таможенные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латежи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2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26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4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8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072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Уплачено  платежей в местный бюджет, всего</a:t>
                      </a: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5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265</a:t>
                      </a:r>
                      <a:endParaRPr lang="ru-RU" sz="12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4 785</a:t>
                      </a: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5 869</a:t>
                      </a: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46 96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3 010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100 273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83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в том числе: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49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ИПН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52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35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55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756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59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896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0870258"/>
                  </a:ext>
                </a:extLst>
              </a:tr>
              <a:tr h="2083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Социальный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налог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34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22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32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63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75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71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800031"/>
                  </a:ext>
                </a:extLst>
              </a:tr>
              <a:tr h="2349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Акцизы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2 000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1 650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2 750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43 800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1 400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97 100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787350"/>
                  </a:ext>
                </a:extLst>
              </a:tr>
              <a:tr h="37287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Плата за эмиссию в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окружающую 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среду</a:t>
                      </a:r>
                    </a:p>
                  </a:txBody>
                  <a:tcPr marL="274354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11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60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10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346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1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6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1017558"/>
                  </a:ext>
                </a:extLst>
              </a:tr>
              <a:tr h="313213">
                <a:tc>
                  <a:txBody>
                    <a:bodyPr/>
                    <a:lstStyle/>
                    <a:p>
                      <a:pPr marL="266700" indent="0" algn="l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Итого </a:t>
                      </a:r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платежей в </a:t>
                      </a: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бюджет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1" marR="7621" marT="761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383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5 637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6 411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578" marR="6578" marT="6578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61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023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49 888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108 823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281052"/>
                  </a:ext>
                </a:extLst>
              </a:tr>
            </a:tbl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329633" y="4788306"/>
            <a:ext cx="114223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НХЗ является крупнейшим налогоплательщиком региона.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оля налоговых отчислений ПНХЗ</a:t>
            </a:r>
          </a:p>
          <a:p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общем поступлении налогов в городской бюджет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оставила: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021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у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 43%, за 6 месяцев 2022 года - 55%</a:t>
            </a: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361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0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23001" y="171892"/>
            <a:ext cx="93969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КОРПОРАТИВНЫЕ МЕРОПРИЯТИЯ ЗА </a:t>
            </a:r>
            <a:r>
              <a:rPr lang="en-US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ПОЛУГОДИЕ 2022 ГОД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126605" y="5321909"/>
            <a:ext cx="295306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8.03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. </a:t>
            </a:r>
          </a:p>
          <a:p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реддверии Наурыза на 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ПНХЗ по традиции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угостили трудовой 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коллектив национальными праздничными яствам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692033" y="941734"/>
            <a:ext cx="26151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1.03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. </a:t>
            </a:r>
            <a:endParaRPr lang="ru-RU" sz="1200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В канун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Наурыза на ПНХЗ вручили 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продуктовые корзины двадцати восьми главам многодетных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емей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65449" y="2485495"/>
            <a:ext cx="29165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3.03.2021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. </a:t>
            </a:r>
          </a:p>
          <a:p>
            <a:pPr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НХЗ принял участие в народных гуляниях на Наурыз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126605" y="3831560"/>
            <a:ext cx="25756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6.</a:t>
            </a: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0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r>
              <a:rPr lang="en-US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20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1 г.</a:t>
            </a:r>
            <a:r>
              <a:rPr lang="en-US" sz="1200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sz="1200" dirty="0">
              <a:solidFill>
                <a:srgbClr val="C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НХЗ стал обладателем кубка по баскетболу среди промпредприятий област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109666" y="1126400"/>
            <a:ext cx="23042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2.01.2022 </a:t>
            </a:r>
            <a:r>
              <a:rPr lang="kk-KZ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. </a:t>
            </a:r>
          </a:p>
          <a:p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Павлодарские нефтепереработчики выступили в роли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доноров.</a:t>
            </a:r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109666" y="2364429"/>
            <a:ext cx="260950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4.02.2022 </a:t>
            </a:r>
            <a:r>
              <a:rPr lang="kk-KZ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. </a:t>
            </a:r>
          </a:p>
          <a:p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Работники ПНХЗ-воины-интернационалисты почтили память погибших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товарищей, возложив цветы в «Парке афганцев».</a:t>
            </a:r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414" y="857565"/>
            <a:ext cx="2056215" cy="1368668"/>
          </a:xfrm>
          <a:prstGeom prst="rect">
            <a:avLst/>
          </a:prstGeom>
          <a:ln w="9525">
            <a:noFill/>
          </a:ln>
          <a:effectLst>
            <a:softEdge rad="63500"/>
          </a:effectLst>
        </p:spPr>
      </p:pic>
      <p:pic>
        <p:nvPicPr>
          <p:cNvPr id="23" name="Picture 4" descr="Работники ПНХЗ-воины-интернационалисты почтили память погибших товарищей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836" y="2364429"/>
            <a:ext cx="2108793" cy="1298347"/>
          </a:xfrm>
          <a:prstGeom prst="rect">
            <a:avLst/>
          </a:prstGeom>
          <a:noFill/>
          <a:ln w="9525"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ПНХЗ чтит традиции Наурыза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960" y="5255791"/>
            <a:ext cx="2142670" cy="1324774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ПНХЗ поздравил глав многодетных семей-работников предприятия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440" y="884993"/>
            <a:ext cx="2158203" cy="1313809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ПНХЗ принял участие в народных гуляниях на Наурыз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440" y="2308719"/>
            <a:ext cx="2158203" cy="1354057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 descr="ПНХЗ стал обладателем кубка по баскетболу среди промпредприятий области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29" r="11020"/>
          <a:stretch/>
        </p:blipFill>
        <p:spPr bwMode="auto">
          <a:xfrm>
            <a:off x="841960" y="3800239"/>
            <a:ext cx="2142669" cy="1303459"/>
          </a:xfrm>
          <a:prstGeom prst="rect">
            <a:avLst/>
          </a:prstGeom>
          <a:noFill/>
          <a:ln w="9525"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ПНХЗ продолжает поддерживать в порядке санитарно-защитную зону предприятия.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440" y="3868493"/>
            <a:ext cx="2158203" cy="1340935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8765449" y="3979021"/>
            <a:ext cx="265493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0.04.2022</a:t>
            </a:r>
          </a:p>
          <a:p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отрудники </a:t>
            </a: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ПНХЗ и сервисных компаний провели уборку на территории санитарно-защитной зоны предприятия.</a:t>
            </a:r>
          </a:p>
        </p:txBody>
      </p:sp>
      <p:pic>
        <p:nvPicPr>
          <p:cNvPr id="34" name="Picture 6" descr="Шестерых ветеранов-нефтепереработчиков ПНХЗ наградили медалью «Еңбек ардагері»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7336" y="5311758"/>
            <a:ext cx="2136307" cy="1330605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Прямоугольник 34"/>
          <p:cNvSpPr/>
          <p:nvPr/>
        </p:nvSpPr>
        <p:spPr>
          <a:xfrm>
            <a:off x="8817431" y="5410346"/>
            <a:ext cx="248979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04.05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Шестерых ветеранов-нефтепереработчиков ПНХЗ наградили медалью «Еңбек ардагері»</a:t>
            </a:r>
          </a:p>
        </p:txBody>
      </p:sp>
    </p:spTree>
    <p:extLst>
      <p:ext uri="{BB962C8B-B14F-4D97-AF65-F5344CB8AC3E}">
        <p14:creationId xmlns:p14="http://schemas.microsoft.com/office/powerpoint/2010/main" val="667435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1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23001" y="171892"/>
            <a:ext cx="93969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КОРПОРАТИВНЫЕ МЕРОПРИЯТИЯ ЗА </a:t>
            </a:r>
            <a:r>
              <a:rPr lang="en-US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ПОЛУГОДИЕ 2022 ГОДА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108000" y="1010466"/>
            <a:ext cx="24773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06.05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ПНХЗ поздравил тружеников тыла с 9 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Мая. </a:t>
            </a:r>
            <a:r>
              <a:rPr lang="ru-RU" sz="1200" b="1" dirty="0" smtClean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</a:t>
            </a:r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8" name="Picture 8" descr="ПНХЗ поздравил тружеников тыла с 9 Ма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41" y="870848"/>
            <a:ext cx="1943184" cy="1222150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4" descr=" На ПНХЗ провели соревнования по баскетболу 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41" y="5210432"/>
            <a:ext cx="1943184" cy="1370127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/>
          <p:cNvSpPr/>
          <p:nvPr/>
        </p:nvSpPr>
        <p:spPr>
          <a:xfrm>
            <a:off x="3108000" y="5309973"/>
            <a:ext cx="297511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1.05-30.05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рошла Спартакиада ПНХЗ среди структурных подразделений завода, включающая соревнования по разным видам спорта, а также эстафета «Мама, папа, я». </a:t>
            </a:r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4" descr="https://www.pnhz.kz/upload/medialibrary/906/IMG_302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41" y="2269601"/>
            <a:ext cx="1943184" cy="1294191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3108000" y="2075112"/>
            <a:ext cx="289255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.05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ПНХЗ с представителями республиканского штаба общественной поддержки референдума по Павлодарской области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судили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менения, которые принесет Республиканский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ферендум</a:t>
            </a:r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24" b="8165"/>
          <a:stretch/>
        </p:blipFill>
        <p:spPr>
          <a:xfrm>
            <a:off x="6652518" y="870848"/>
            <a:ext cx="1980114" cy="1318055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3" name="Прямоугольник 22"/>
          <p:cNvSpPr/>
          <p:nvPr/>
        </p:nvSpPr>
        <p:spPr>
          <a:xfrm>
            <a:off x="8727426" y="950440"/>
            <a:ext cx="27508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3.06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трудники завода исполнили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имн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захстана в преддверии Дня государственных символов</a:t>
            </a:r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2461" y="2318306"/>
            <a:ext cx="2007973" cy="1338648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5" name="Прямоугольник 24"/>
          <p:cNvSpPr/>
          <p:nvPr/>
        </p:nvSpPr>
        <p:spPr>
          <a:xfrm>
            <a:off x="8752139" y="2309682"/>
            <a:ext cx="275089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07.06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заводе наградили победителей конкурса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тского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исунка «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за әлем – Чистый мир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, приуроченного к Всемирному дню охраны окружающей среды</a:t>
            </a:r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314" y="3786357"/>
            <a:ext cx="2046073" cy="1364049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7" name="Прямоугольник 26"/>
          <p:cNvSpPr/>
          <p:nvPr/>
        </p:nvSpPr>
        <p:spPr>
          <a:xfrm>
            <a:off x="8785093" y="3833684"/>
            <a:ext cx="275089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5.06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учение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сфере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 от Департамента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 ЧС Павлодарской области и организации «Красный полумесяц Казахстана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</a:t>
            </a:r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075" y="5249947"/>
            <a:ext cx="2067697" cy="1378465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9" name="Прямоугольник 28"/>
          <p:cNvSpPr/>
          <p:nvPr/>
        </p:nvSpPr>
        <p:spPr>
          <a:xfrm>
            <a:off x="8822162" y="5262949"/>
            <a:ext cx="275089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6.06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</a:t>
            </a:r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зит делегации КМГ для разъяснения коллективу ПНХЗ изменения системы работы портала рационализаторов «Банк идей». </a:t>
            </a:r>
            <a:endParaRPr lang="ru-RU" sz="1200" b="1" dirty="0">
              <a:solidFill>
                <a:srgbClr val="C00000"/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Picture 6" descr="Сотрудник ПНХЗ принял участие в Абаевских чтениях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39" y="3740395"/>
            <a:ext cx="1943186" cy="1293434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30"/>
          <p:cNvSpPr/>
          <p:nvPr/>
        </p:nvSpPr>
        <p:spPr>
          <a:xfrm>
            <a:off x="3108000" y="3893710"/>
            <a:ext cx="28925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.05.2022 </a:t>
            </a:r>
            <a:r>
              <a:rPr lang="ru-RU" sz="1200" b="1" dirty="0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ботник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НХЗ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дрей Смык принял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частие в 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родских Абаевских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чтениях</a:t>
            </a:r>
          </a:p>
        </p:txBody>
      </p:sp>
    </p:spTree>
    <p:extLst>
      <p:ext uri="{BB962C8B-B14F-4D97-AF65-F5344CB8AC3E}">
        <p14:creationId xmlns:p14="http://schemas.microsoft.com/office/powerpoint/2010/main" val="3407638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2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23001" y="171892"/>
            <a:ext cx="93969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СПОРТИВНЫЕ  МЕРОПРИЯТИЯ: СПАРТАКИАДА КМГ, 08-11 августа 2022 г.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691042" y="1027100"/>
            <a:ext cx="5392101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егкоатлеты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НХЗ  заняли </a:t>
            </a: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4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 </a:t>
            </a: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 </a:t>
            </a:r>
            <a:endParaRPr lang="en-US" sz="1400" b="1" dirty="0" smtClean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еди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-ми команд ДЗО КМГ</a:t>
            </a: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олейбол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мужчины) – </a:t>
            </a:r>
            <a:r>
              <a:rPr lang="en-US" sz="14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4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</a:t>
            </a: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en-US" sz="1400" b="1" dirty="0" smtClean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Баскетбол </a:t>
            </a:r>
            <a:r>
              <a:rPr lang="ru-RU" sz="1400" b="1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мужчины) –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ru-RU" sz="1400" b="1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en-US" sz="1400" b="1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авание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мужчины) – 4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есто.</a:t>
            </a:r>
            <a:endParaRPr lang="en-US" sz="1400" b="1" dirty="0" smtClean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лавание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женщины) –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I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есто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en-US" sz="1400" b="1" dirty="0" smtClean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Шахматы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женщины) – 4 место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r>
              <a:rPr lang="ru-RU" sz="1400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RU" sz="1400" dirty="0"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456" y="962735"/>
            <a:ext cx="2216370" cy="1296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76" y="2435122"/>
            <a:ext cx="2226450" cy="1296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456" y="3905561"/>
            <a:ext cx="2216370" cy="1296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455" y="5379897"/>
            <a:ext cx="2216371" cy="1239078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5" t="27600" r="2401" b="17800"/>
          <a:stretch/>
        </p:blipFill>
        <p:spPr>
          <a:xfrm>
            <a:off x="3937774" y="962735"/>
            <a:ext cx="2234841" cy="1296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01" t="22001" r="6134" b="8001"/>
          <a:stretch/>
        </p:blipFill>
        <p:spPr>
          <a:xfrm>
            <a:off x="3939894" y="5358975"/>
            <a:ext cx="2242800" cy="1260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9894" y="3905561"/>
            <a:ext cx="2242800" cy="1260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9894" y="2452148"/>
            <a:ext cx="2232721" cy="1260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043" y="5358975"/>
            <a:ext cx="2038531" cy="1260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043" y="3905561"/>
            <a:ext cx="2038531" cy="1260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180" y="5322975"/>
            <a:ext cx="2183880" cy="1296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180" y="3905561"/>
            <a:ext cx="2183880" cy="1260000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974290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3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23001" y="171892"/>
            <a:ext cx="93969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ОСНОВНЫЕ ЗАДАЧИ  НА </a:t>
            </a:r>
            <a:r>
              <a:rPr lang="en-US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I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ПОЛУГОДИЕ  </a:t>
            </a:r>
            <a:r>
              <a:rPr lang="ru-RU" b="1" dirty="0">
                <a:solidFill>
                  <a:schemeClr val="bg1"/>
                </a:solidFill>
                <a:latin typeface="Century Gothic" panose="020B0502020202020204" pitchFamily="34" charset="0"/>
              </a:rPr>
              <a:t>2022 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ГОД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07609" y="1205565"/>
            <a:ext cx="1177819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latin typeface="Century Gothic" panose="020B0502020202020204" pitchFamily="34" charset="0"/>
              </a:rPr>
              <a:t>1. Обеспечить </a:t>
            </a:r>
            <a:r>
              <a:rPr lang="ru-RU" sz="1600" dirty="0">
                <a:latin typeface="Century Gothic" panose="020B0502020202020204" pitchFamily="34" charset="0"/>
              </a:rPr>
              <a:t>исполнение производственной </a:t>
            </a:r>
            <a:r>
              <a:rPr lang="ru-RU" sz="1600" dirty="0" smtClean="0">
                <a:latin typeface="Century Gothic" panose="020B0502020202020204" pitchFamily="34" charset="0"/>
              </a:rPr>
              <a:t>программы за 2022 год </a:t>
            </a:r>
            <a:r>
              <a:rPr lang="ru-RU" sz="1600" dirty="0">
                <a:latin typeface="Century Gothic" panose="020B0502020202020204" pitchFamily="34" charset="0"/>
              </a:rPr>
              <a:t>в полном объеме:</a:t>
            </a:r>
          </a:p>
          <a:p>
            <a:pPr algn="just"/>
            <a:r>
              <a:rPr lang="ru-RU" sz="1600" dirty="0">
                <a:latin typeface="Century Gothic" panose="020B0502020202020204" pitchFamily="34" charset="0"/>
              </a:rPr>
              <a:t>переработка нефти -</a:t>
            </a:r>
            <a:r>
              <a:rPr lang="ru-RU" sz="1600" dirty="0" smtClean="0">
                <a:latin typeface="Century Gothic" panose="020B0502020202020204" pitchFamily="34" charset="0"/>
              </a:rPr>
              <a:t>5,4 </a:t>
            </a:r>
            <a:r>
              <a:rPr lang="ru-RU" sz="1600" dirty="0" smtClean="0">
                <a:latin typeface="Century Gothic" panose="020B0502020202020204" pitchFamily="34" charset="0"/>
              </a:rPr>
              <a:t>млн. </a:t>
            </a:r>
            <a:r>
              <a:rPr lang="ru-RU" sz="1600" dirty="0">
                <a:latin typeface="Century Gothic" panose="020B0502020202020204" pitchFamily="34" charset="0"/>
              </a:rPr>
              <a:t>тонн, </a:t>
            </a:r>
            <a:r>
              <a:rPr lang="ru-RU" sz="1600" dirty="0" smtClean="0">
                <a:latin typeface="Century Gothic" panose="020B0502020202020204" pitchFamily="34" charset="0"/>
              </a:rPr>
              <a:t>выход </a:t>
            </a:r>
            <a:r>
              <a:rPr lang="ru-RU" sz="1600" dirty="0">
                <a:latin typeface="Century Gothic" panose="020B0502020202020204" pitchFamily="34" charset="0"/>
              </a:rPr>
              <a:t>светлых нефтепродуктов </a:t>
            </a:r>
            <a:r>
              <a:rPr lang="ru-RU" sz="1600" dirty="0" smtClean="0">
                <a:latin typeface="Century Gothic" panose="020B0502020202020204" pitchFamily="34" charset="0"/>
              </a:rPr>
              <a:t>- не менее </a:t>
            </a:r>
            <a:r>
              <a:rPr lang="ru-RU" sz="1600" dirty="0">
                <a:latin typeface="Century Gothic" panose="020B0502020202020204" pitchFamily="34" charset="0"/>
              </a:rPr>
              <a:t>67,1</a:t>
            </a:r>
            <a:r>
              <a:rPr lang="ru-RU" sz="1600" dirty="0" smtClean="0">
                <a:latin typeface="Century Gothic" panose="020B0502020202020204" pitchFamily="34" charset="0"/>
              </a:rPr>
              <a:t>%.</a:t>
            </a:r>
          </a:p>
          <a:p>
            <a:pPr algn="just"/>
            <a:endParaRPr lang="ru-RU" sz="1600" dirty="0" smtClean="0">
              <a:latin typeface="Century Gothic" panose="020B0502020202020204" pitchFamily="34" charset="0"/>
            </a:endParaRPr>
          </a:p>
          <a:p>
            <a:pPr algn="just"/>
            <a:r>
              <a:rPr lang="ru-RU" sz="1600" dirty="0" smtClean="0">
                <a:latin typeface="Century Gothic" panose="020B0502020202020204" pitchFamily="34" charset="0"/>
              </a:rPr>
              <a:t>2. </a:t>
            </a:r>
            <a:r>
              <a:rPr lang="ru-RU" sz="1600" dirty="0">
                <a:latin typeface="Century Gothic" panose="020B0502020202020204" pitchFamily="34" charset="0"/>
              </a:rPr>
              <a:t>Обеспечить безаварийную работу оборудования и отсутствие </a:t>
            </a:r>
            <a:r>
              <a:rPr lang="ru-RU" sz="1600" dirty="0" smtClean="0">
                <a:latin typeface="Century Gothic" panose="020B0502020202020204" pitchFamily="34" charset="0"/>
              </a:rPr>
              <a:t>травматизма.</a:t>
            </a:r>
          </a:p>
          <a:p>
            <a:pPr algn="just"/>
            <a:endParaRPr lang="ru-RU" sz="1600" dirty="0" smtClean="0">
              <a:latin typeface="Century Gothic" panose="020B0502020202020204" pitchFamily="34" charset="0"/>
            </a:endParaRPr>
          </a:p>
          <a:p>
            <a:pPr algn="just"/>
            <a:r>
              <a:rPr lang="ru-RU" sz="1600" dirty="0" smtClean="0">
                <a:latin typeface="Century Gothic" panose="020B0502020202020204" pitchFamily="34" charset="0"/>
              </a:rPr>
              <a:t>3</a:t>
            </a:r>
            <a:r>
              <a:rPr lang="ru-RU" sz="1600" dirty="0">
                <a:latin typeface="Century Gothic" panose="020B0502020202020204" pitchFamily="34" charset="0"/>
              </a:rPr>
              <a:t>. </a:t>
            </a:r>
            <a:r>
              <a:rPr lang="ru-RU" sz="1600" dirty="0" smtClean="0">
                <a:latin typeface="Century Gothic" panose="020B0502020202020204" pitchFamily="34" charset="0"/>
              </a:rPr>
              <a:t>Обеспечить своевременное техническое обслуживание </a:t>
            </a:r>
            <a:r>
              <a:rPr lang="ru-RU" sz="1600" dirty="0">
                <a:latin typeface="Century Gothic" panose="020B0502020202020204" pitchFamily="34" charset="0"/>
              </a:rPr>
              <a:t>и </a:t>
            </a:r>
            <a:r>
              <a:rPr lang="ru-RU" sz="1600" dirty="0" smtClean="0">
                <a:latin typeface="Century Gothic" panose="020B0502020202020204" pitchFamily="34" charset="0"/>
              </a:rPr>
              <a:t>ремонт </a:t>
            </a:r>
            <a:r>
              <a:rPr lang="ru-RU" sz="1600" dirty="0">
                <a:latin typeface="Century Gothic" panose="020B0502020202020204" pitchFamily="34" charset="0"/>
              </a:rPr>
              <a:t>оборудования </a:t>
            </a:r>
            <a:r>
              <a:rPr lang="ru-RU" sz="1600" dirty="0" smtClean="0">
                <a:latin typeface="Century Gothic" panose="020B0502020202020204" pitchFamily="34" charset="0"/>
              </a:rPr>
              <a:t>и инфраструктуры завода.</a:t>
            </a:r>
          </a:p>
          <a:p>
            <a:pPr algn="just"/>
            <a:endParaRPr lang="ru-RU" sz="1600" dirty="0" smtClean="0">
              <a:latin typeface="Century Gothic" panose="020B0502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r>
              <a:rPr lang="ru-RU" sz="1600" dirty="0" smtClean="0">
                <a:latin typeface="Century Gothic" panose="020B0502020202020204" pitchFamily="34" charset="0"/>
              </a:rPr>
              <a:t>4. Продолжить выполнение мероприятий по </a:t>
            </a:r>
            <a:r>
              <a:rPr lang="ru-RU" sz="1600" dirty="0">
                <a:latin typeface="Century Gothic" panose="020B0502020202020204" pitchFamily="34" charset="0"/>
              </a:rPr>
              <a:t>повышению </a:t>
            </a:r>
            <a:r>
              <a:rPr lang="ru-RU" sz="1600" dirty="0" err="1">
                <a:latin typeface="Century Gothic" panose="020B0502020202020204" pitchFamily="34" charset="0"/>
              </a:rPr>
              <a:t>энергоэффективности</a:t>
            </a:r>
            <a:r>
              <a:rPr lang="ru-RU" sz="1600" dirty="0">
                <a:latin typeface="Century Gothic" panose="020B0502020202020204" pitchFamily="34" charset="0"/>
              </a:rPr>
              <a:t>, </a:t>
            </a:r>
            <a:r>
              <a:rPr lang="ru-RU" sz="1600" dirty="0" smtClean="0">
                <a:latin typeface="Century Gothic" panose="020B0502020202020204" pitchFamily="34" charset="0"/>
              </a:rPr>
              <a:t>снижению потребления</a:t>
            </a:r>
          </a:p>
          <a:p>
            <a:pPr algn="just"/>
            <a:r>
              <a:rPr lang="ru-RU" sz="1600" dirty="0" smtClean="0">
                <a:latin typeface="Century Gothic" panose="020B0502020202020204" pitchFamily="34" charset="0"/>
              </a:rPr>
              <a:t>тепло-энергоресурсов</a:t>
            </a:r>
            <a:endParaRPr lang="ru-RU" sz="1600" dirty="0">
              <a:latin typeface="Century Gothic" panose="020B0502020202020204" pitchFamily="34" charset="0"/>
            </a:endParaRPr>
          </a:p>
          <a:p>
            <a:pPr algn="just"/>
            <a:endParaRPr lang="ru-RU" sz="1600" dirty="0">
              <a:latin typeface="Century Gothic" panose="020B0502020202020204" pitchFamily="34" charset="0"/>
            </a:endParaRPr>
          </a:p>
          <a:p>
            <a:pPr algn="just"/>
            <a:r>
              <a:rPr lang="ru-RU" sz="1600" dirty="0" smtClean="0">
                <a:latin typeface="Century Gothic" panose="020B0502020202020204" pitchFamily="34" charset="0"/>
              </a:rPr>
              <a:t>5. </a:t>
            </a:r>
            <a:r>
              <a:rPr lang="ru-RU" sz="1600" dirty="0">
                <a:latin typeface="Century Gothic" panose="020B0502020202020204" pitchFamily="34" charset="0"/>
              </a:rPr>
              <a:t>Обеспечить </a:t>
            </a:r>
            <a:r>
              <a:rPr lang="ru-RU" sz="1600" dirty="0" smtClean="0">
                <a:latin typeface="Century Gothic" panose="020B0502020202020204" pitchFamily="34" charset="0"/>
              </a:rPr>
              <a:t>неукоснительное соблюдение </a:t>
            </a:r>
            <a:r>
              <a:rPr lang="ru-RU" sz="1600" dirty="0">
                <a:latin typeface="Century Gothic" panose="020B0502020202020204" pitchFamily="34" charset="0"/>
              </a:rPr>
              <a:t>бюджетной </a:t>
            </a:r>
            <a:r>
              <a:rPr lang="ru-RU" sz="1600" dirty="0" smtClean="0">
                <a:latin typeface="Century Gothic" panose="020B0502020202020204" pitchFamily="34" charset="0"/>
              </a:rPr>
              <a:t>д</a:t>
            </a:r>
            <a:r>
              <a:rPr lang="ru-RU" sz="16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исциплины.</a:t>
            </a:r>
          </a:p>
          <a:p>
            <a:pPr algn="just"/>
            <a:endParaRPr lang="ru-RU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16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6. Продолжить выполнение мероприятий по </a:t>
            </a:r>
            <a:r>
              <a:rPr lang="ru-RU" sz="1600" dirty="0" err="1" smtClean="0">
                <a:solidFill>
                  <a:srgbClr val="000000"/>
                </a:solidFill>
                <a:latin typeface="Century Gothic" panose="020B0502020202020204" pitchFamily="34" charset="0"/>
              </a:rPr>
              <a:t>цифровизации</a:t>
            </a:r>
            <a:r>
              <a:rPr lang="ru-RU" sz="16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 и автоматизации бизнес-процессов</a:t>
            </a:r>
          </a:p>
          <a:p>
            <a:pPr algn="just"/>
            <a:endParaRPr lang="ru-RU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160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7. Продолжить реализацию инвестиционных проектов ПНХЗ</a:t>
            </a:r>
          </a:p>
          <a:p>
            <a:pPr algn="just"/>
            <a:endParaRPr lang="ru-RU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8. </a:t>
            </a:r>
            <a:r>
              <a:rPr lang="kk-KZ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Разработать меропритяи по подготовке к капитальному ремонту ПНХЗ в 2023г.</a:t>
            </a:r>
            <a:endParaRPr lang="ru-RU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just"/>
            <a:endParaRPr lang="ru-RU" sz="16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081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1862BFD-FB0B-4753-8E05-8C1E6A2D23F6}"/>
              </a:ext>
            </a:extLst>
          </p:cNvPr>
          <p:cNvSpPr/>
          <p:nvPr/>
        </p:nvSpPr>
        <p:spPr>
          <a:xfrm>
            <a:off x="179318" y="0"/>
            <a:ext cx="86875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ЫПОЛНЕНИЕ ОСНОВНЫХ ПРОИЗВОДСТВЕННЫХ ПОКАЗАТЕЛЕЙ </a:t>
            </a:r>
            <a:endParaRPr lang="en-US" b="1" dirty="0" smtClean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 </a:t>
            </a:r>
            <a:r>
              <a:rPr lang="en-US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</a:t>
            </a:r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ЛУГОДИЕ 2022 ГОДА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4344247"/>
              </p:ext>
            </p:extLst>
          </p:nvPr>
        </p:nvGraphicFramePr>
        <p:xfrm>
          <a:off x="674346" y="810500"/>
          <a:ext cx="10843308" cy="57950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51362">
                  <a:extLst>
                    <a:ext uri="{9D8B030D-6E8A-4147-A177-3AD203B41FA5}">
                      <a16:colId xmlns:a16="http://schemas.microsoft.com/office/drawing/2014/main" val="3211243061"/>
                    </a:ext>
                  </a:extLst>
                </a:gridCol>
                <a:gridCol w="2584888">
                  <a:extLst>
                    <a:ext uri="{9D8B030D-6E8A-4147-A177-3AD203B41FA5}">
                      <a16:colId xmlns:a16="http://schemas.microsoft.com/office/drawing/2014/main" val="629859277"/>
                    </a:ext>
                  </a:extLst>
                </a:gridCol>
                <a:gridCol w="2262911">
                  <a:extLst>
                    <a:ext uri="{9D8B030D-6E8A-4147-A177-3AD203B41FA5}">
                      <a16:colId xmlns:a16="http://schemas.microsoft.com/office/drawing/2014/main" val="3952526180"/>
                    </a:ext>
                  </a:extLst>
                </a:gridCol>
                <a:gridCol w="1744147">
                  <a:extLst>
                    <a:ext uri="{9D8B030D-6E8A-4147-A177-3AD203B41FA5}">
                      <a16:colId xmlns:a16="http://schemas.microsoft.com/office/drawing/2014/main" val="4033056423"/>
                    </a:ext>
                  </a:extLst>
                </a:gridCol>
              </a:tblGrid>
              <a:tr h="43846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Наименование 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План МЭ РК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Факт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Исполнение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563572"/>
                  </a:ext>
                </a:extLst>
              </a:tr>
              <a:tr h="283917">
                <a:tc vMerge="1">
                  <a:txBody>
                    <a:bodyPr/>
                    <a:lstStyle/>
                    <a:p>
                      <a:pPr algn="l" rtl="0" fontAlgn="ctr"/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482" marR="8482" marT="8482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Тонн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260524"/>
                  </a:ext>
                </a:extLst>
              </a:tr>
              <a:tr h="30677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Переработка сырь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 839 22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 839 22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6214539"/>
                  </a:ext>
                </a:extLst>
              </a:tr>
              <a:tr h="1025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8482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6236660"/>
                  </a:ext>
                </a:extLst>
              </a:tr>
              <a:tr h="30677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err="1" smtClean="0">
                          <a:effectLst/>
                          <a:latin typeface="Century Gothic" panose="020B0502020202020204" pitchFamily="34" charset="0"/>
                        </a:rPr>
                        <a:t>Автобензины</a:t>
                      </a:r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32 68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32 68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5883891"/>
                  </a:ext>
                </a:extLst>
              </a:tr>
              <a:tr h="263477"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200" i="1" u="none" strike="noStrike" dirty="0" smtClean="0">
                          <a:effectLst/>
                          <a:latin typeface="Century Gothic" panose="020B0502020202020204" pitchFamily="34" charset="0"/>
                        </a:rPr>
                        <a:t>Аи-92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72000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32 337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32 337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665096"/>
                  </a:ext>
                </a:extLst>
              </a:tr>
              <a:tr h="238897"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200" i="1" u="none" strike="noStrike" dirty="0" smtClean="0">
                          <a:effectLst/>
                          <a:latin typeface="Century Gothic" panose="020B0502020202020204" pitchFamily="34" charset="0"/>
                        </a:rPr>
                        <a:t>Аи-95/98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72000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0 343</a:t>
                      </a:r>
                      <a:endParaRPr lang="ru-RU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0 343</a:t>
                      </a:r>
                      <a:endParaRPr lang="ru-RU" sz="1200" b="0" i="1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4459046"/>
                  </a:ext>
                </a:extLst>
              </a:tr>
              <a:tr h="2718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Авиатоплив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9 29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9 29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3820862"/>
                  </a:ext>
                </a:extLst>
              </a:tr>
              <a:tr h="24713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Дизельное топлив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33 87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33 87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2564912"/>
                  </a:ext>
                </a:extLst>
              </a:tr>
              <a:tr h="18947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Печное топлив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 60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 60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017641"/>
                  </a:ext>
                </a:extLst>
              </a:tr>
              <a:tr h="2122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Сырье для </a:t>
                      </a:r>
                      <a:r>
                        <a:rPr lang="ru-RU" sz="1200" u="none" strike="noStrike" dirty="0" err="1" smtClean="0">
                          <a:effectLst/>
                          <a:latin typeface="Century Gothic" panose="020B0502020202020204" pitchFamily="34" charset="0"/>
                        </a:rPr>
                        <a:t>техуглерод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 54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 54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4575267"/>
                  </a:ext>
                </a:extLst>
              </a:tr>
              <a:tr h="25537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Мазу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32 72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32 72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0423365"/>
                  </a:ext>
                </a:extLst>
              </a:tr>
              <a:tr h="20594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Битум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3 84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3 84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196668"/>
                  </a:ext>
                </a:extLst>
              </a:tr>
              <a:tr h="22242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Кок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9 14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9 14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5674796"/>
                  </a:ext>
                </a:extLst>
              </a:tr>
              <a:tr h="19770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Сер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8 07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8 07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5832028"/>
                  </a:ext>
                </a:extLst>
              </a:tr>
              <a:tr h="32316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Сжиженный газ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8482" marT="8482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61 77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61 77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%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3390726"/>
                  </a:ext>
                </a:extLst>
              </a:tr>
              <a:tr h="32127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Топливо и потери </a:t>
                      </a:r>
                      <a:r>
                        <a:rPr lang="ru-RU" sz="1200" b="0" i="0" u="none" strike="noStrike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</a:rPr>
                        <a:t>всего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, 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,11%</a:t>
                      </a:r>
                    </a:p>
                  </a:txBody>
                  <a:tcPr marL="5389" marR="5389" marT="5389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6,11%</a:t>
                      </a:r>
                    </a:p>
                  </a:txBody>
                  <a:tcPr marL="5389" marR="5389" marT="5389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5389" marR="5389" marT="5389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6144228"/>
                  </a:ext>
                </a:extLst>
              </a:tr>
              <a:tr h="3053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в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т.</a:t>
                      </a:r>
                      <a:r>
                        <a:rPr lang="ru-RU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ч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. Топлив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,19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,19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 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7017293"/>
                  </a:ext>
                </a:extLst>
              </a:tr>
              <a:tr h="3024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         Потер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0,92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0,92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%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 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4831279"/>
                  </a:ext>
                </a:extLst>
              </a:tr>
              <a:tr h="33951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Глубина переработки, 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7,36%</a:t>
                      </a:r>
                    </a:p>
                  </a:txBody>
                  <a:tcPr marL="5389" marR="5389" marT="5389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7,36%</a:t>
                      </a:r>
                    </a:p>
                  </a:txBody>
                  <a:tcPr marL="5389" marR="5389" marT="5389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 %</a:t>
                      </a:r>
                    </a:p>
                  </a:txBody>
                  <a:tcPr marL="5389" marR="5389" marT="5389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371059"/>
                  </a:ext>
                </a:extLst>
              </a:tr>
              <a:tr h="36951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Сумма светлых, 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2000" marR="6007" marT="6007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1,60%</a:t>
                      </a:r>
                    </a:p>
                  </a:txBody>
                  <a:tcPr marL="5389" marR="5389" marT="5389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71,60%</a:t>
                      </a:r>
                    </a:p>
                  </a:txBody>
                  <a:tcPr marL="5389" marR="5389" marT="5389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0 %</a:t>
                      </a:r>
                    </a:p>
                  </a:txBody>
                  <a:tcPr marL="5389" marR="5389" marT="5389" marB="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43406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1579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9779" y="42837"/>
            <a:ext cx="2254219" cy="532060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123531" y="162759"/>
            <a:ext cx="50291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ru-RU" altLang="en-US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ИНВЕСТИЦИОННЫЕ ПРОЕКТЫ ПНХЗ</a:t>
            </a:r>
            <a:endParaRPr lang="ru-RU" altLang="en-US" b="1" dirty="0">
              <a:solidFill>
                <a:schemeClr val="bg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r="2337"/>
          <a:stretch/>
        </p:blipFill>
        <p:spPr>
          <a:xfrm>
            <a:off x="3166962" y="4115271"/>
            <a:ext cx="2658670" cy="2604833"/>
          </a:xfrm>
          <a:prstGeom prst="rect">
            <a:avLst/>
          </a:prstGeom>
          <a:ln w="9525">
            <a:noFill/>
          </a:ln>
        </p:spPr>
      </p:pic>
      <p:sp>
        <p:nvSpPr>
          <p:cNvPr id="15" name="TextBox 14"/>
          <p:cNvSpPr txBox="1"/>
          <p:nvPr/>
        </p:nvSpPr>
        <p:spPr>
          <a:xfrm>
            <a:off x="377959" y="959632"/>
            <a:ext cx="5252227" cy="1413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охранение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производства </a:t>
            </a:r>
            <a:r>
              <a:rPr lang="x-none" sz="1000" dirty="0">
                <a:latin typeface="Century Gothic" panose="020B0502020202020204" pitchFamily="34" charset="0"/>
                <a:cs typeface="Arial" panose="020B0604020202020204" pitchFamily="34" charset="0"/>
              </a:rPr>
              <a:t>сжиженных углеводородных</a:t>
            </a:r>
            <a:r>
              <a:rPr lang="kk-KZ" sz="1000" dirty="0">
                <a:latin typeface="Century Gothic" panose="020B0502020202020204" pitchFamily="34" charset="0"/>
                <a:cs typeface="Arial" panose="020B0604020202020204" pitchFamily="34" charset="0"/>
              </a:rPr>
              <a:t> (СУГ</a:t>
            </a:r>
            <a:r>
              <a:rPr lang="kk-KZ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И ОСНОВНЫХ ЭТАПОВ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019-2024</a:t>
            </a:r>
            <a:endParaRPr lang="ru-RU" sz="10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ОДИТЕЛЬНОСТЬ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СТАНОВКИ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00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тыс. тонн в год</a:t>
            </a:r>
          </a:p>
          <a:p>
            <a:pPr algn="just">
              <a:spcBef>
                <a:spcPts val="100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ЕРС-ПОДРЯДЧИК  </a:t>
            </a:r>
            <a:endParaRPr lang="en-US" sz="10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ТОО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«ЭОН </a:t>
            </a:r>
            <a:r>
              <a:rPr lang="ru-RU" sz="1000" dirty="0" err="1">
                <a:latin typeface="Century Gothic" panose="020B0502020202020204" pitchFamily="34" charset="0"/>
                <a:cs typeface="Arial" panose="020B0604020202020204" pitchFamily="34" charset="0"/>
              </a:rPr>
              <a:t>Энерго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 </a:t>
            </a:r>
            <a:endParaRPr lang="ru-RU" sz="1000" b="1" dirty="0">
              <a:latin typeface="Century Gothic" panose="020B0502020202020204" pitchFamily="34" charset="0"/>
              <a:ea typeface="Times New Roman" pitchFamily="18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12065" y="990401"/>
            <a:ext cx="331663" cy="1263717"/>
            <a:chOff x="112065" y="982089"/>
            <a:chExt cx="331663" cy="1216789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114355" y="982089"/>
              <a:ext cx="320199" cy="265150"/>
              <a:chOff x="136051" y="1391752"/>
              <a:chExt cx="419286" cy="434523"/>
            </a:xfrm>
          </p:grpSpPr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id="{65254C21-239F-EE3D-D336-8D2B4C9077D5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136051" y="1391752"/>
                <a:ext cx="419286" cy="434523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18" name="Freeform 99"/>
              <p:cNvSpPr>
                <a:spLocks noEditPoints="1"/>
              </p:cNvSpPr>
              <p:nvPr/>
            </p:nvSpPr>
            <p:spPr bwMode="auto">
              <a:xfrm>
                <a:off x="199092" y="1465786"/>
                <a:ext cx="292599" cy="293167"/>
              </a:xfrm>
              <a:custGeom>
                <a:avLst/>
                <a:gdLst>
                  <a:gd name="T0" fmla="*/ 0 w 714"/>
                  <a:gd name="T1" fmla="*/ 357 h 715"/>
                  <a:gd name="T2" fmla="*/ 714 w 714"/>
                  <a:gd name="T3" fmla="*/ 357 h 715"/>
                  <a:gd name="T4" fmla="*/ 357 w 714"/>
                  <a:gd name="T5" fmla="*/ 14 h 715"/>
                  <a:gd name="T6" fmla="*/ 357 w 714"/>
                  <a:gd name="T7" fmla="*/ 701 h 715"/>
                  <a:gd name="T8" fmla="*/ 357 w 714"/>
                  <a:gd name="T9" fmla="*/ 14 h 715"/>
                  <a:gd name="T10" fmla="*/ 272 w 714"/>
                  <a:gd name="T11" fmla="*/ 358 h 715"/>
                  <a:gd name="T12" fmla="*/ 442 w 714"/>
                  <a:gd name="T13" fmla="*/ 358 h 715"/>
                  <a:gd name="T14" fmla="*/ 357 w 714"/>
                  <a:gd name="T15" fmla="*/ 287 h 715"/>
                  <a:gd name="T16" fmla="*/ 357 w 714"/>
                  <a:gd name="T17" fmla="*/ 428 h 715"/>
                  <a:gd name="T18" fmla="*/ 357 w 714"/>
                  <a:gd name="T19" fmla="*/ 287 h 715"/>
                  <a:gd name="T20" fmla="*/ 364 w 714"/>
                  <a:gd name="T21" fmla="*/ 7 h 715"/>
                  <a:gd name="T22" fmla="*/ 350 w 714"/>
                  <a:gd name="T23" fmla="*/ 7 h 715"/>
                  <a:gd name="T24" fmla="*/ 357 w 714"/>
                  <a:gd name="T25" fmla="*/ 111 h 715"/>
                  <a:gd name="T26" fmla="*/ 364 w 714"/>
                  <a:gd name="T27" fmla="*/ 708 h 715"/>
                  <a:gd name="T28" fmla="*/ 357 w 714"/>
                  <a:gd name="T29" fmla="*/ 604 h 715"/>
                  <a:gd name="T30" fmla="*/ 350 w 714"/>
                  <a:gd name="T31" fmla="*/ 708 h 715"/>
                  <a:gd name="T32" fmla="*/ 364 w 714"/>
                  <a:gd name="T33" fmla="*/ 708 h 715"/>
                  <a:gd name="T34" fmla="*/ 707 w 714"/>
                  <a:gd name="T35" fmla="*/ 351 h 715"/>
                  <a:gd name="T36" fmla="*/ 603 w 714"/>
                  <a:gd name="T37" fmla="*/ 358 h 715"/>
                  <a:gd name="T38" fmla="*/ 707 w 714"/>
                  <a:gd name="T39" fmla="*/ 365 h 715"/>
                  <a:gd name="T40" fmla="*/ 111 w 714"/>
                  <a:gd name="T41" fmla="*/ 358 h 715"/>
                  <a:gd name="T42" fmla="*/ 7 w 714"/>
                  <a:gd name="T43" fmla="*/ 351 h 715"/>
                  <a:gd name="T44" fmla="*/ 7 w 714"/>
                  <a:gd name="T45" fmla="*/ 365 h 715"/>
                  <a:gd name="T46" fmla="*/ 111 w 714"/>
                  <a:gd name="T47" fmla="*/ 358 h 715"/>
                  <a:gd name="T48" fmla="*/ 364 w 714"/>
                  <a:gd name="T49" fmla="*/ 249 h 715"/>
                  <a:gd name="T50" fmla="*/ 350 w 714"/>
                  <a:gd name="T51" fmla="*/ 249 h 715"/>
                  <a:gd name="T52" fmla="*/ 357 w 714"/>
                  <a:gd name="T53" fmla="*/ 286 h 715"/>
                  <a:gd name="T54" fmla="*/ 364 w 714"/>
                  <a:gd name="T55" fmla="*/ 466 h 715"/>
                  <a:gd name="T56" fmla="*/ 357 w 714"/>
                  <a:gd name="T57" fmla="*/ 429 h 715"/>
                  <a:gd name="T58" fmla="*/ 350 w 714"/>
                  <a:gd name="T59" fmla="*/ 466 h 715"/>
                  <a:gd name="T60" fmla="*/ 364 w 714"/>
                  <a:gd name="T61" fmla="*/ 466 h 715"/>
                  <a:gd name="T62" fmla="*/ 466 w 714"/>
                  <a:gd name="T63" fmla="*/ 351 h 715"/>
                  <a:gd name="T64" fmla="*/ 429 w 714"/>
                  <a:gd name="T65" fmla="*/ 358 h 715"/>
                  <a:gd name="T66" fmla="*/ 466 w 714"/>
                  <a:gd name="T67" fmla="*/ 365 h 715"/>
                  <a:gd name="T68" fmla="*/ 286 w 714"/>
                  <a:gd name="T69" fmla="*/ 358 h 715"/>
                  <a:gd name="T70" fmla="*/ 249 w 714"/>
                  <a:gd name="T71" fmla="*/ 351 h 715"/>
                  <a:gd name="T72" fmla="*/ 249 w 714"/>
                  <a:gd name="T73" fmla="*/ 365 h 715"/>
                  <a:gd name="T74" fmla="*/ 286 w 714"/>
                  <a:gd name="T75" fmla="*/ 358 h 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4" h="715">
                    <a:moveTo>
                      <a:pt x="357" y="715"/>
                    </a:moveTo>
                    <a:cubicBezTo>
                      <a:pt x="160" y="715"/>
                      <a:pt x="0" y="554"/>
                      <a:pt x="0" y="357"/>
                    </a:cubicBezTo>
                    <a:cubicBezTo>
                      <a:pt x="0" y="161"/>
                      <a:pt x="160" y="0"/>
                      <a:pt x="357" y="0"/>
                    </a:cubicBezTo>
                    <a:cubicBezTo>
                      <a:pt x="554" y="0"/>
                      <a:pt x="714" y="161"/>
                      <a:pt x="714" y="357"/>
                    </a:cubicBezTo>
                    <a:cubicBezTo>
                      <a:pt x="714" y="554"/>
                      <a:pt x="554" y="715"/>
                      <a:pt x="357" y="715"/>
                    </a:cubicBezTo>
                    <a:close/>
                    <a:moveTo>
                      <a:pt x="357" y="14"/>
                    </a:moveTo>
                    <a:cubicBezTo>
                      <a:pt x="168" y="14"/>
                      <a:pt x="14" y="168"/>
                      <a:pt x="14" y="357"/>
                    </a:cubicBezTo>
                    <a:cubicBezTo>
                      <a:pt x="14" y="547"/>
                      <a:pt x="168" y="701"/>
                      <a:pt x="357" y="701"/>
                    </a:cubicBezTo>
                    <a:cubicBezTo>
                      <a:pt x="546" y="701"/>
                      <a:pt x="700" y="547"/>
                      <a:pt x="700" y="357"/>
                    </a:cubicBezTo>
                    <a:cubicBezTo>
                      <a:pt x="700" y="168"/>
                      <a:pt x="546" y="14"/>
                      <a:pt x="357" y="14"/>
                    </a:cubicBezTo>
                    <a:close/>
                    <a:moveTo>
                      <a:pt x="357" y="442"/>
                    </a:moveTo>
                    <a:cubicBezTo>
                      <a:pt x="310" y="442"/>
                      <a:pt x="272" y="404"/>
                      <a:pt x="272" y="358"/>
                    </a:cubicBezTo>
                    <a:cubicBezTo>
                      <a:pt x="272" y="311"/>
                      <a:pt x="310" y="273"/>
                      <a:pt x="357" y="273"/>
                    </a:cubicBezTo>
                    <a:cubicBezTo>
                      <a:pt x="404" y="273"/>
                      <a:pt x="442" y="311"/>
                      <a:pt x="442" y="358"/>
                    </a:cubicBezTo>
                    <a:cubicBezTo>
                      <a:pt x="442" y="404"/>
                      <a:pt x="404" y="442"/>
                      <a:pt x="357" y="442"/>
                    </a:cubicBezTo>
                    <a:close/>
                    <a:moveTo>
                      <a:pt x="357" y="287"/>
                    </a:moveTo>
                    <a:cubicBezTo>
                      <a:pt x="318" y="287"/>
                      <a:pt x="286" y="318"/>
                      <a:pt x="286" y="358"/>
                    </a:cubicBezTo>
                    <a:cubicBezTo>
                      <a:pt x="286" y="397"/>
                      <a:pt x="318" y="428"/>
                      <a:pt x="357" y="428"/>
                    </a:cubicBezTo>
                    <a:cubicBezTo>
                      <a:pt x="396" y="428"/>
                      <a:pt x="428" y="397"/>
                      <a:pt x="428" y="358"/>
                    </a:cubicBezTo>
                    <a:cubicBezTo>
                      <a:pt x="428" y="318"/>
                      <a:pt x="396" y="287"/>
                      <a:pt x="357" y="287"/>
                    </a:cubicBezTo>
                    <a:close/>
                    <a:moveTo>
                      <a:pt x="364" y="104"/>
                    </a:moveTo>
                    <a:cubicBezTo>
                      <a:pt x="364" y="7"/>
                      <a:pt x="364" y="7"/>
                      <a:pt x="364" y="7"/>
                    </a:cubicBezTo>
                    <a:cubicBezTo>
                      <a:pt x="364" y="4"/>
                      <a:pt x="361" y="0"/>
                      <a:pt x="357" y="0"/>
                    </a:cubicBezTo>
                    <a:cubicBezTo>
                      <a:pt x="353" y="0"/>
                      <a:pt x="350" y="4"/>
                      <a:pt x="350" y="7"/>
                    </a:cubicBezTo>
                    <a:cubicBezTo>
                      <a:pt x="350" y="104"/>
                      <a:pt x="350" y="104"/>
                      <a:pt x="350" y="104"/>
                    </a:cubicBezTo>
                    <a:cubicBezTo>
                      <a:pt x="350" y="108"/>
                      <a:pt x="353" y="111"/>
                      <a:pt x="357" y="111"/>
                    </a:cubicBezTo>
                    <a:cubicBezTo>
                      <a:pt x="361" y="111"/>
                      <a:pt x="364" y="108"/>
                      <a:pt x="364" y="104"/>
                    </a:cubicBezTo>
                    <a:close/>
                    <a:moveTo>
                      <a:pt x="364" y="708"/>
                    </a:moveTo>
                    <a:cubicBezTo>
                      <a:pt x="364" y="611"/>
                      <a:pt x="364" y="611"/>
                      <a:pt x="364" y="611"/>
                    </a:cubicBezTo>
                    <a:cubicBezTo>
                      <a:pt x="364" y="607"/>
                      <a:pt x="361" y="604"/>
                      <a:pt x="357" y="604"/>
                    </a:cubicBezTo>
                    <a:cubicBezTo>
                      <a:pt x="353" y="604"/>
                      <a:pt x="350" y="607"/>
                      <a:pt x="350" y="611"/>
                    </a:cubicBezTo>
                    <a:cubicBezTo>
                      <a:pt x="350" y="708"/>
                      <a:pt x="350" y="708"/>
                      <a:pt x="350" y="708"/>
                    </a:cubicBezTo>
                    <a:cubicBezTo>
                      <a:pt x="350" y="711"/>
                      <a:pt x="353" y="715"/>
                      <a:pt x="357" y="715"/>
                    </a:cubicBezTo>
                    <a:cubicBezTo>
                      <a:pt x="361" y="715"/>
                      <a:pt x="364" y="711"/>
                      <a:pt x="364" y="708"/>
                    </a:cubicBezTo>
                    <a:close/>
                    <a:moveTo>
                      <a:pt x="714" y="358"/>
                    </a:moveTo>
                    <a:cubicBezTo>
                      <a:pt x="714" y="354"/>
                      <a:pt x="711" y="351"/>
                      <a:pt x="707" y="351"/>
                    </a:cubicBezTo>
                    <a:cubicBezTo>
                      <a:pt x="610" y="351"/>
                      <a:pt x="610" y="351"/>
                      <a:pt x="610" y="351"/>
                    </a:cubicBezTo>
                    <a:cubicBezTo>
                      <a:pt x="606" y="351"/>
                      <a:pt x="603" y="354"/>
                      <a:pt x="603" y="358"/>
                    </a:cubicBezTo>
                    <a:cubicBezTo>
                      <a:pt x="603" y="361"/>
                      <a:pt x="606" y="365"/>
                      <a:pt x="610" y="365"/>
                    </a:cubicBezTo>
                    <a:cubicBezTo>
                      <a:pt x="707" y="365"/>
                      <a:pt x="707" y="365"/>
                      <a:pt x="707" y="365"/>
                    </a:cubicBezTo>
                    <a:cubicBezTo>
                      <a:pt x="711" y="365"/>
                      <a:pt x="714" y="361"/>
                      <a:pt x="714" y="358"/>
                    </a:cubicBezTo>
                    <a:close/>
                    <a:moveTo>
                      <a:pt x="111" y="358"/>
                    </a:moveTo>
                    <a:cubicBezTo>
                      <a:pt x="111" y="354"/>
                      <a:pt x="108" y="351"/>
                      <a:pt x="104" y="351"/>
                    </a:cubicBezTo>
                    <a:cubicBezTo>
                      <a:pt x="7" y="351"/>
                      <a:pt x="7" y="351"/>
                      <a:pt x="7" y="351"/>
                    </a:cubicBezTo>
                    <a:cubicBezTo>
                      <a:pt x="3" y="351"/>
                      <a:pt x="0" y="354"/>
                      <a:pt x="0" y="358"/>
                    </a:cubicBezTo>
                    <a:cubicBezTo>
                      <a:pt x="0" y="361"/>
                      <a:pt x="3" y="365"/>
                      <a:pt x="7" y="365"/>
                    </a:cubicBezTo>
                    <a:cubicBezTo>
                      <a:pt x="104" y="365"/>
                      <a:pt x="104" y="365"/>
                      <a:pt x="104" y="365"/>
                    </a:cubicBezTo>
                    <a:cubicBezTo>
                      <a:pt x="108" y="365"/>
                      <a:pt x="111" y="361"/>
                      <a:pt x="111" y="358"/>
                    </a:cubicBezTo>
                    <a:close/>
                    <a:moveTo>
                      <a:pt x="364" y="279"/>
                    </a:moveTo>
                    <a:cubicBezTo>
                      <a:pt x="364" y="249"/>
                      <a:pt x="364" y="249"/>
                      <a:pt x="364" y="249"/>
                    </a:cubicBezTo>
                    <a:cubicBezTo>
                      <a:pt x="364" y="245"/>
                      <a:pt x="361" y="242"/>
                      <a:pt x="357" y="242"/>
                    </a:cubicBezTo>
                    <a:cubicBezTo>
                      <a:pt x="353" y="242"/>
                      <a:pt x="350" y="245"/>
                      <a:pt x="350" y="249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350" y="283"/>
                      <a:pt x="353" y="286"/>
                      <a:pt x="357" y="286"/>
                    </a:cubicBezTo>
                    <a:cubicBezTo>
                      <a:pt x="361" y="286"/>
                      <a:pt x="364" y="283"/>
                      <a:pt x="364" y="279"/>
                    </a:cubicBezTo>
                    <a:close/>
                    <a:moveTo>
                      <a:pt x="364" y="466"/>
                    </a:moveTo>
                    <a:cubicBezTo>
                      <a:pt x="364" y="436"/>
                      <a:pt x="364" y="436"/>
                      <a:pt x="364" y="436"/>
                    </a:cubicBezTo>
                    <a:cubicBezTo>
                      <a:pt x="364" y="432"/>
                      <a:pt x="361" y="429"/>
                      <a:pt x="357" y="429"/>
                    </a:cubicBezTo>
                    <a:cubicBezTo>
                      <a:pt x="353" y="429"/>
                      <a:pt x="350" y="432"/>
                      <a:pt x="350" y="436"/>
                    </a:cubicBezTo>
                    <a:cubicBezTo>
                      <a:pt x="350" y="466"/>
                      <a:pt x="350" y="466"/>
                      <a:pt x="350" y="466"/>
                    </a:cubicBezTo>
                    <a:cubicBezTo>
                      <a:pt x="350" y="470"/>
                      <a:pt x="353" y="473"/>
                      <a:pt x="357" y="473"/>
                    </a:cubicBezTo>
                    <a:cubicBezTo>
                      <a:pt x="361" y="473"/>
                      <a:pt x="364" y="470"/>
                      <a:pt x="364" y="466"/>
                    </a:cubicBezTo>
                    <a:close/>
                    <a:moveTo>
                      <a:pt x="473" y="358"/>
                    </a:moveTo>
                    <a:cubicBezTo>
                      <a:pt x="473" y="354"/>
                      <a:pt x="470" y="351"/>
                      <a:pt x="466" y="351"/>
                    </a:cubicBezTo>
                    <a:cubicBezTo>
                      <a:pt x="436" y="351"/>
                      <a:pt x="436" y="351"/>
                      <a:pt x="436" y="351"/>
                    </a:cubicBezTo>
                    <a:cubicBezTo>
                      <a:pt x="432" y="351"/>
                      <a:pt x="429" y="354"/>
                      <a:pt x="429" y="358"/>
                    </a:cubicBezTo>
                    <a:cubicBezTo>
                      <a:pt x="429" y="361"/>
                      <a:pt x="432" y="365"/>
                      <a:pt x="436" y="365"/>
                    </a:cubicBezTo>
                    <a:cubicBezTo>
                      <a:pt x="466" y="365"/>
                      <a:pt x="466" y="365"/>
                      <a:pt x="466" y="365"/>
                    </a:cubicBezTo>
                    <a:cubicBezTo>
                      <a:pt x="470" y="365"/>
                      <a:pt x="473" y="361"/>
                      <a:pt x="473" y="358"/>
                    </a:cubicBezTo>
                    <a:close/>
                    <a:moveTo>
                      <a:pt x="286" y="358"/>
                    </a:moveTo>
                    <a:cubicBezTo>
                      <a:pt x="286" y="354"/>
                      <a:pt x="282" y="351"/>
                      <a:pt x="279" y="351"/>
                    </a:cubicBezTo>
                    <a:cubicBezTo>
                      <a:pt x="249" y="351"/>
                      <a:pt x="249" y="351"/>
                      <a:pt x="249" y="351"/>
                    </a:cubicBezTo>
                    <a:cubicBezTo>
                      <a:pt x="245" y="351"/>
                      <a:pt x="242" y="354"/>
                      <a:pt x="242" y="358"/>
                    </a:cubicBezTo>
                    <a:cubicBezTo>
                      <a:pt x="242" y="361"/>
                      <a:pt x="245" y="365"/>
                      <a:pt x="249" y="365"/>
                    </a:cubicBezTo>
                    <a:cubicBezTo>
                      <a:pt x="279" y="365"/>
                      <a:pt x="279" y="365"/>
                      <a:pt x="279" y="365"/>
                    </a:cubicBezTo>
                    <a:cubicBezTo>
                      <a:pt x="282" y="365"/>
                      <a:pt x="286" y="361"/>
                      <a:pt x="286" y="35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12065" y="1298889"/>
              <a:ext cx="320197" cy="26515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14" name="Группа 13"/>
            <p:cNvGrpSpPr/>
            <p:nvPr/>
          </p:nvGrpSpPr>
          <p:grpSpPr>
            <a:xfrm>
              <a:off x="112066" y="1338896"/>
              <a:ext cx="320197" cy="547810"/>
              <a:chOff x="54053" y="1014778"/>
              <a:chExt cx="253615" cy="520642"/>
            </a:xfrm>
          </p:grpSpPr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65254C21-239F-EE3D-D336-8D2B4C9077D5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54053" y="1283420"/>
                <a:ext cx="253615" cy="252000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31" name="Freeform 98"/>
              <p:cNvSpPr>
                <a:spLocks noEditPoints="1"/>
              </p:cNvSpPr>
              <p:nvPr/>
            </p:nvSpPr>
            <p:spPr bwMode="auto">
              <a:xfrm>
                <a:off x="86898" y="1014778"/>
                <a:ext cx="180000" cy="180000"/>
              </a:xfrm>
              <a:custGeom>
                <a:avLst/>
                <a:gdLst>
                  <a:gd name="T0" fmla="*/ 486 w 714"/>
                  <a:gd name="T1" fmla="*/ 214 h 715"/>
                  <a:gd name="T2" fmla="*/ 375 w 714"/>
                  <a:gd name="T3" fmla="*/ 329 h 715"/>
                  <a:gd name="T4" fmla="*/ 357 w 714"/>
                  <a:gd name="T5" fmla="*/ 324 h 715"/>
                  <a:gd name="T6" fmla="*/ 342 w 714"/>
                  <a:gd name="T7" fmla="*/ 327 h 715"/>
                  <a:gd name="T8" fmla="*/ 183 w 714"/>
                  <a:gd name="T9" fmla="*/ 124 h 715"/>
                  <a:gd name="T10" fmla="*/ 173 w 714"/>
                  <a:gd name="T11" fmla="*/ 123 h 715"/>
                  <a:gd name="T12" fmla="*/ 172 w 714"/>
                  <a:gd name="T13" fmla="*/ 133 h 715"/>
                  <a:gd name="T14" fmla="*/ 331 w 714"/>
                  <a:gd name="T15" fmla="*/ 336 h 715"/>
                  <a:gd name="T16" fmla="*/ 323 w 714"/>
                  <a:gd name="T17" fmla="*/ 358 h 715"/>
                  <a:gd name="T18" fmla="*/ 357 w 714"/>
                  <a:gd name="T19" fmla="*/ 391 h 715"/>
                  <a:gd name="T20" fmla="*/ 390 w 714"/>
                  <a:gd name="T21" fmla="*/ 358 h 715"/>
                  <a:gd name="T22" fmla="*/ 385 w 714"/>
                  <a:gd name="T23" fmla="*/ 339 h 715"/>
                  <a:gd name="T24" fmla="*/ 496 w 714"/>
                  <a:gd name="T25" fmla="*/ 223 h 715"/>
                  <a:gd name="T26" fmla="*/ 496 w 714"/>
                  <a:gd name="T27" fmla="*/ 213 h 715"/>
                  <a:gd name="T28" fmla="*/ 486 w 714"/>
                  <a:gd name="T29" fmla="*/ 214 h 715"/>
                  <a:gd name="T30" fmla="*/ 357 w 714"/>
                  <a:gd name="T31" fmla="*/ 377 h 715"/>
                  <a:gd name="T32" fmla="*/ 337 w 714"/>
                  <a:gd name="T33" fmla="*/ 358 h 715"/>
                  <a:gd name="T34" fmla="*/ 357 w 714"/>
                  <a:gd name="T35" fmla="*/ 338 h 715"/>
                  <a:gd name="T36" fmla="*/ 376 w 714"/>
                  <a:gd name="T37" fmla="*/ 358 h 715"/>
                  <a:gd name="T38" fmla="*/ 357 w 714"/>
                  <a:gd name="T39" fmla="*/ 377 h 715"/>
                  <a:gd name="T40" fmla="*/ 714 w 714"/>
                  <a:gd name="T41" fmla="*/ 358 h 715"/>
                  <a:gd name="T42" fmla="*/ 714 w 714"/>
                  <a:gd name="T43" fmla="*/ 358 h 715"/>
                  <a:gd name="T44" fmla="*/ 357 w 714"/>
                  <a:gd name="T45" fmla="*/ 0 h 715"/>
                  <a:gd name="T46" fmla="*/ 357 w 714"/>
                  <a:gd name="T47" fmla="*/ 0 h 715"/>
                  <a:gd name="T48" fmla="*/ 357 w 714"/>
                  <a:gd name="T49" fmla="*/ 0 h 715"/>
                  <a:gd name="T50" fmla="*/ 357 w 714"/>
                  <a:gd name="T51" fmla="*/ 0 h 715"/>
                  <a:gd name="T52" fmla="*/ 0 w 714"/>
                  <a:gd name="T53" fmla="*/ 358 h 715"/>
                  <a:gd name="T54" fmla="*/ 0 w 714"/>
                  <a:gd name="T55" fmla="*/ 358 h 715"/>
                  <a:gd name="T56" fmla="*/ 0 w 714"/>
                  <a:gd name="T57" fmla="*/ 358 h 715"/>
                  <a:gd name="T58" fmla="*/ 0 w 714"/>
                  <a:gd name="T59" fmla="*/ 358 h 715"/>
                  <a:gd name="T60" fmla="*/ 357 w 714"/>
                  <a:gd name="T61" fmla="*/ 715 h 715"/>
                  <a:gd name="T62" fmla="*/ 357 w 714"/>
                  <a:gd name="T63" fmla="*/ 715 h 715"/>
                  <a:gd name="T64" fmla="*/ 357 w 714"/>
                  <a:gd name="T65" fmla="*/ 715 h 715"/>
                  <a:gd name="T66" fmla="*/ 357 w 714"/>
                  <a:gd name="T67" fmla="*/ 715 h 715"/>
                  <a:gd name="T68" fmla="*/ 714 w 714"/>
                  <a:gd name="T69" fmla="*/ 358 h 715"/>
                  <a:gd name="T70" fmla="*/ 714 w 714"/>
                  <a:gd name="T71" fmla="*/ 358 h 715"/>
                  <a:gd name="T72" fmla="*/ 364 w 714"/>
                  <a:gd name="T73" fmla="*/ 700 h 715"/>
                  <a:gd name="T74" fmla="*/ 364 w 714"/>
                  <a:gd name="T75" fmla="*/ 662 h 715"/>
                  <a:gd name="T76" fmla="*/ 357 w 714"/>
                  <a:gd name="T77" fmla="*/ 655 h 715"/>
                  <a:gd name="T78" fmla="*/ 350 w 714"/>
                  <a:gd name="T79" fmla="*/ 662 h 715"/>
                  <a:gd name="T80" fmla="*/ 350 w 714"/>
                  <a:gd name="T81" fmla="*/ 700 h 715"/>
                  <a:gd name="T82" fmla="*/ 14 w 714"/>
                  <a:gd name="T83" fmla="*/ 365 h 715"/>
                  <a:gd name="T84" fmla="*/ 52 w 714"/>
                  <a:gd name="T85" fmla="*/ 365 h 715"/>
                  <a:gd name="T86" fmla="*/ 59 w 714"/>
                  <a:gd name="T87" fmla="*/ 358 h 715"/>
                  <a:gd name="T88" fmla="*/ 52 w 714"/>
                  <a:gd name="T89" fmla="*/ 351 h 715"/>
                  <a:gd name="T90" fmla="*/ 14 w 714"/>
                  <a:gd name="T91" fmla="*/ 351 h 715"/>
                  <a:gd name="T92" fmla="*/ 350 w 714"/>
                  <a:gd name="T93" fmla="*/ 15 h 715"/>
                  <a:gd name="T94" fmla="*/ 350 w 714"/>
                  <a:gd name="T95" fmla="*/ 53 h 715"/>
                  <a:gd name="T96" fmla="*/ 357 w 714"/>
                  <a:gd name="T97" fmla="*/ 60 h 715"/>
                  <a:gd name="T98" fmla="*/ 364 w 714"/>
                  <a:gd name="T99" fmla="*/ 53 h 715"/>
                  <a:gd name="T100" fmla="*/ 364 w 714"/>
                  <a:gd name="T101" fmla="*/ 15 h 715"/>
                  <a:gd name="T102" fmla="*/ 699 w 714"/>
                  <a:gd name="T103" fmla="*/ 351 h 715"/>
                  <a:gd name="T104" fmla="*/ 661 w 714"/>
                  <a:gd name="T105" fmla="*/ 351 h 715"/>
                  <a:gd name="T106" fmla="*/ 654 w 714"/>
                  <a:gd name="T107" fmla="*/ 358 h 715"/>
                  <a:gd name="T108" fmla="*/ 661 w 714"/>
                  <a:gd name="T109" fmla="*/ 365 h 715"/>
                  <a:gd name="T110" fmla="*/ 699 w 714"/>
                  <a:gd name="T111" fmla="*/ 365 h 715"/>
                  <a:gd name="T112" fmla="*/ 364 w 714"/>
                  <a:gd name="T113" fmla="*/ 700 h 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14" h="715">
                    <a:moveTo>
                      <a:pt x="486" y="214"/>
                    </a:moveTo>
                    <a:cubicBezTo>
                      <a:pt x="375" y="329"/>
                      <a:pt x="375" y="329"/>
                      <a:pt x="375" y="329"/>
                    </a:cubicBezTo>
                    <a:cubicBezTo>
                      <a:pt x="369" y="326"/>
                      <a:pt x="363" y="324"/>
                      <a:pt x="357" y="324"/>
                    </a:cubicBezTo>
                    <a:cubicBezTo>
                      <a:pt x="351" y="324"/>
                      <a:pt x="346" y="325"/>
                      <a:pt x="342" y="327"/>
                    </a:cubicBezTo>
                    <a:cubicBezTo>
                      <a:pt x="183" y="124"/>
                      <a:pt x="183" y="124"/>
                      <a:pt x="183" y="124"/>
                    </a:cubicBezTo>
                    <a:cubicBezTo>
                      <a:pt x="180" y="121"/>
                      <a:pt x="176" y="121"/>
                      <a:pt x="173" y="123"/>
                    </a:cubicBezTo>
                    <a:cubicBezTo>
                      <a:pt x="170" y="126"/>
                      <a:pt x="169" y="130"/>
                      <a:pt x="172" y="133"/>
                    </a:cubicBezTo>
                    <a:cubicBezTo>
                      <a:pt x="331" y="336"/>
                      <a:pt x="331" y="336"/>
                      <a:pt x="331" y="336"/>
                    </a:cubicBezTo>
                    <a:cubicBezTo>
                      <a:pt x="326" y="342"/>
                      <a:pt x="323" y="349"/>
                      <a:pt x="323" y="358"/>
                    </a:cubicBezTo>
                    <a:cubicBezTo>
                      <a:pt x="323" y="376"/>
                      <a:pt x="338" y="391"/>
                      <a:pt x="357" y="391"/>
                    </a:cubicBezTo>
                    <a:cubicBezTo>
                      <a:pt x="375" y="391"/>
                      <a:pt x="390" y="376"/>
                      <a:pt x="390" y="358"/>
                    </a:cubicBezTo>
                    <a:cubicBezTo>
                      <a:pt x="390" y="351"/>
                      <a:pt x="388" y="344"/>
                      <a:pt x="385" y="339"/>
                    </a:cubicBezTo>
                    <a:cubicBezTo>
                      <a:pt x="496" y="223"/>
                      <a:pt x="496" y="223"/>
                      <a:pt x="496" y="223"/>
                    </a:cubicBezTo>
                    <a:cubicBezTo>
                      <a:pt x="499" y="220"/>
                      <a:pt x="499" y="216"/>
                      <a:pt x="496" y="213"/>
                    </a:cubicBezTo>
                    <a:cubicBezTo>
                      <a:pt x="493" y="211"/>
                      <a:pt x="489" y="211"/>
                      <a:pt x="486" y="214"/>
                    </a:cubicBezTo>
                    <a:close/>
                    <a:moveTo>
                      <a:pt x="357" y="377"/>
                    </a:moveTo>
                    <a:cubicBezTo>
                      <a:pt x="346" y="377"/>
                      <a:pt x="337" y="368"/>
                      <a:pt x="337" y="358"/>
                    </a:cubicBezTo>
                    <a:cubicBezTo>
                      <a:pt x="337" y="347"/>
                      <a:pt x="346" y="338"/>
                      <a:pt x="357" y="338"/>
                    </a:cubicBezTo>
                    <a:cubicBezTo>
                      <a:pt x="368" y="338"/>
                      <a:pt x="376" y="347"/>
                      <a:pt x="376" y="358"/>
                    </a:cubicBezTo>
                    <a:cubicBezTo>
                      <a:pt x="376" y="368"/>
                      <a:pt x="368" y="377"/>
                      <a:pt x="357" y="377"/>
                    </a:cubicBezTo>
                    <a:close/>
                    <a:moveTo>
                      <a:pt x="714" y="358"/>
                    </a:moveTo>
                    <a:cubicBezTo>
                      <a:pt x="714" y="358"/>
                      <a:pt x="714" y="358"/>
                      <a:pt x="714" y="358"/>
                    </a:cubicBezTo>
                    <a:cubicBezTo>
                      <a:pt x="714" y="161"/>
                      <a:pt x="553" y="0"/>
                      <a:pt x="357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160" y="0"/>
                      <a:pt x="0" y="161"/>
                      <a:pt x="0" y="358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554"/>
                      <a:pt x="160" y="715"/>
                      <a:pt x="357" y="715"/>
                    </a:cubicBezTo>
                    <a:cubicBezTo>
                      <a:pt x="357" y="715"/>
                      <a:pt x="357" y="715"/>
                      <a:pt x="357" y="715"/>
                    </a:cubicBezTo>
                    <a:cubicBezTo>
                      <a:pt x="357" y="715"/>
                      <a:pt x="357" y="715"/>
                      <a:pt x="357" y="715"/>
                    </a:cubicBezTo>
                    <a:cubicBezTo>
                      <a:pt x="357" y="715"/>
                      <a:pt x="357" y="715"/>
                      <a:pt x="357" y="715"/>
                    </a:cubicBezTo>
                    <a:cubicBezTo>
                      <a:pt x="553" y="715"/>
                      <a:pt x="714" y="554"/>
                      <a:pt x="714" y="358"/>
                    </a:cubicBezTo>
                    <a:cubicBezTo>
                      <a:pt x="714" y="358"/>
                      <a:pt x="714" y="358"/>
                      <a:pt x="714" y="358"/>
                    </a:cubicBezTo>
                    <a:close/>
                    <a:moveTo>
                      <a:pt x="364" y="700"/>
                    </a:moveTo>
                    <a:cubicBezTo>
                      <a:pt x="364" y="662"/>
                      <a:pt x="364" y="662"/>
                      <a:pt x="364" y="662"/>
                    </a:cubicBezTo>
                    <a:cubicBezTo>
                      <a:pt x="364" y="658"/>
                      <a:pt x="360" y="655"/>
                      <a:pt x="357" y="655"/>
                    </a:cubicBezTo>
                    <a:cubicBezTo>
                      <a:pt x="353" y="655"/>
                      <a:pt x="350" y="658"/>
                      <a:pt x="350" y="662"/>
                    </a:cubicBezTo>
                    <a:cubicBezTo>
                      <a:pt x="350" y="700"/>
                      <a:pt x="350" y="700"/>
                      <a:pt x="350" y="700"/>
                    </a:cubicBezTo>
                    <a:cubicBezTo>
                      <a:pt x="166" y="697"/>
                      <a:pt x="17" y="548"/>
                      <a:pt x="14" y="365"/>
                    </a:cubicBezTo>
                    <a:cubicBezTo>
                      <a:pt x="52" y="365"/>
                      <a:pt x="52" y="365"/>
                      <a:pt x="52" y="365"/>
                    </a:cubicBezTo>
                    <a:cubicBezTo>
                      <a:pt x="56" y="365"/>
                      <a:pt x="59" y="361"/>
                      <a:pt x="59" y="358"/>
                    </a:cubicBezTo>
                    <a:cubicBezTo>
                      <a:pt x="59" y="354"/>
                      <a:pt x="56" y="351"/>
                      <a:pt x="52" y="351"/>
                    </a:cubicBezTo>
                    <a:cubicBezTo>
                      <a:pt x="14" y="351"/>
                      <a:pt x="14" y="351"/>
                      <a:pt x="14" y="351"/>
                    </a:cubicBezTo>
                    <a:cubicBezTo>
                      <a:pt x="17" y="167"/>
                      <a:pt x="166" y="18"/>
                      <a:pt x="350" y="15"/>
                    </a:cubicBezTo>
                    <a:cubicBezTo>
                      <a:pt x="350" y="53"/>
                      <a:pt x="350" y="53"/>
                      <a:pt x="350" y="53"/>
                    </a:cubicBezTo>
                    <a:cubicBezTo>
                      <a:pt x="350" y="57"/>
                      <a:pt x="353" y="60"/>
                      <a:pt x="357" y="60"/>
                    </a:cubicBezTo>
                    <a:cubicBezTo>
                      <a:pt x="360" y="60"/>
                      <a:pt x="364" y="57"/>
                      <a:pt x="364" y="53"/>
                    </a:cubicBezTo>
                    <a:cubicBezTo>
                      <a:pt x="364" y="15"/>
                      <a:pt x="364" y="15"/>
                      <a:pt x="364" y="15"/>
                    </a:cubicBezTo>
                    <a:cubicBezTo>
                      <a:pt x="547" y="18"/>
                      <a:pt x="696" y="167"/>
                      <a:pt x="699" y="351"/>
                    </a:cubicBezTo>
                    <a:cubicBezTo>
                      <a:pt x="661" y="351"/>
                      <a:pt x="661" y="351"/>
                      <a:pt x="661" y="351"/>
                    </a:cubicBezTo>
                    <a:cubicBezTo>
                      <a:pt x="657" y="351"/>
                      <a:pt x="654" y="354"/>
                      <a:pt x="654" y="358"/>
                    </a:cubicBezTo>
                    <a:cubicBezTo>
                      <a:pt x="654" y="361"/>
                      <a:pt x="657" y="365"/>
                      <a:pt x="661" y="365"/>
                    </a:cubicBezTo>
                    <a:cubicBezTo>
                      <a:pt x="699" y="365"/>
                      <a:pt x="699" y="365"/>
                      <a:pt x="699" y="365"/>
                    </a:cubicBezTo>
                    <a:cubicBezTo>
                      <a:pt x="696" y="548"/>
                      <a:pt x="547" y="697"/>
                      <a:pt x="364" y="70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7" name="Группа 16"/>
            <p:cNvGrpSpPr/>
            <p:nvPr/>
          </p:nvGrpSpPr>
          <p:grpSpPr>
            <a:xfrm>
              <a:off x="123531" y="1655872"/>
              <a:ext cx="320197" cy="543006"/>
              <a:chOff x="67778" y="1369834"/>
              <a:chExt cx="253615" cy="516076"/>
            </a:xfrm>
          </p:grpSpPr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65254C21-239F-EE3D-D336-8D2B4C9077D5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67778" y="1633910"/>
                <a:ext cx="253615" cy="252000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36" name="Freeform 123"/>
              <p:cNvSpPr>
                <a:spLocks noEditPoints="1"/>
              </p:cNvSpPr>
              <p:nvPr/>
            </p:nvSpPr>
            <p:spPr bwMode="auto">
              <a:xfrm>
                <a:off x="87893" y="1369834"/>
                <a:ext cx="177546" cy="166821"/>
              </a:xfrm>
              <a:custGeom>
                <a:avLst/>
                <a:gdLst>
                  <a:gd name="T0" fmla="*/ 529 w 676"/>
                  <a:gd name="T1" fmla="*/ 279 h 678"/>
                  <a:gd name="T2" fmla="*/ 431 w 676"/>
                  <a:gd name="T3" fmla="*/ 293 h 678"/>
                  <a:gd name="T4" fmla="*/ 409 w 676"/>
                  <a:gd name="T5" fmla="*/ 210 h 678"/>
                  <a:gd name="T6" fmla="*/ 367 w 676"/>
                  <a:gd name="T7" fmla="*/ 125 h 678"/>
                  <a:gd name="T8" fmla="*/ 401 w 676"/>
                  <a:gd name="T9" fmla="*/ 58 h 678"/>
                  <a:gd name="T10" fmla="*/ 504 w 676"/>
                  <a:gd name="T11" fmla="*/ 6 h 678"/>
                  <a:gd name="T12" fmla="*/ 579 w 676"/>
                  <a:gd name="T13" fmla="*/ 18 h 678"/>
                  <a:gd name="T14" fmla="*/ 659 w 676"/>
                  <a:gd name="T15" fmla="*/ 100 h 678"/>
                  <a:gd name="T16" fmla="*/ 676 w 676"/>
                  <a:gd name="T17" fmla="*/ 169 h 678"/>
                  <a:gd name="T18" fmla="*/ 605 w 676"/>
                  <a:gd name="T19" fmla="*/ 241 h 678"/>
                  <a:gd name="T20" fmla="*/ 558 w 676"/>
                  <a:gd name="T21" fmla="*/ 314 h 678"/>
                  <a:gd name="T22" fmla="*/ 539 w 676"/>
                  <a:gd name="T23" fmla="*/ 267 h 678"/>
                  <a:gd name="T24" fmla="*/ 590 w 676"/>
                  <a:gd name="T25" fmla="*/ 242 h 678"/>
                  <a:gd name="T26" fmla="*/ 626 w 676"/>
                  <a:gd name="T27" fmla="*/ 172 h 678"/>
                  <a:gd name="T28" fmla="*/ 655 w 676"/>
                  <a:gd name="T29" fmla="*/ 114 h 678"/>
                  <a:gd name="T30" fmla="*/ 566 w 676"/>
                  <a:gd name="T31" fmla="*/ 67 h 678"/>
                  <a:gd name="T32" fmla="*/ 517 w 676"/>
                  <a:gd name="T33" fmla="*/ 15 h 678"/>
                  <a:gd name="T34" fmla="*/ 500 w 676"/>
                  <a:gd name="T35" fmla="*/ 56 h 678"/>
                  <a:gd name="T36" fmla="*/ 401 w 676"/>
                  <a:gd name="T37" fmla="*/ 73 h 678"/>
                  <a:gd name="T38" fmla="*/ 413 w 676"/>
                  <a:gd name="T39" fmla="*/ 144 h 678"/>
                  <a:gd name="T40" fmla="*/ 422 w 676"/>
                  <a:gd name="T41" fmla="*/ 215 h 678"/>
                  <a:gd name="T42" fmla="*/ 463 w 676"/>
                  <a:gd name="T43" fmla="*/ 255 h 678"/>
                  <a:gd name="T44" fmla="*/ 532 w 676"/>
                  <a:gd name="T45" fmla="*/ 264 h 678"/>
                  <a:gd name="T46" fmla="*/ 478 w 676"/>
                  <a:gd name="T47" fmla="*/ 160 h 678"/>
                  <a:gd name="T48" fmla="*/ 517 w 676"/>
                  <a:gd name="T49" fmla="*/ 199 h 678"/>
                  <a:gd name="T50" fmla="*/ 517 w 676"/>
                  <a:gd name="T51" fmla="*/ 185 h 678"/>
                  <a:gd name="T52" fmla="*/ 258 w 676"/>
                  <a:gd name="T53" fmla="*/ 678 h 678"/>
                  <a:gd name="T54" fmla="*/ 233 w 676"/>
                  <a:gd name="T55" fmla="*/ 615 h 678"/>
                  <a:gd name="T56" fmla="*/ 105 w 676"/>
                  <a:gd name="T57" fmla="*/ 628 h 678"/>
                  <a:gd name="T58" fmla="*/ 90 w 676"/>
                  <a:gd name="T59" fmla="*/ 522 h 678"/>
                  <a:gd name="T60" fmla="*/ 0 w 676"/>
                  <a:gd name="T61" fmla="*/ 424 h 678"/>
                  <a:gd name="T62" fmla="*/ 14 w 676"/>
                  <a:gd name="T63" fmla="*/ 350 h 678"/>
                  <a:gd name="T64" fmla="*/ 91 w 676"/>
                  <a:gd name="T65" fmla="*/ 229 h 678"/>
                  <a:gd name="T66" fmla="*/ 159 w 676"/>
                  <a:gd name="T67" fmla="*/ 185 h 678"/>
                  <a:gd name="T68" fmla="*/ 276 w 676"/>
                  <a:gd name="T69" fmla="*/ 222 h 678"/>
                  <a:gd name="T70" fmla="*/ 378 w 676"/>
                  <a:gd name="T71" fmla="*/ 190 h 678"/>
                  <a:gd name="T72" fmla="*/ 423 w 676"/>
                  <a:gd name="T73" fmla="*/ 310 h 678"/>
                  <a:gd name="T74" fmla="*/ 513 w 676"/>
                  <a:gd name="T75" fmla="*/ 370 h 678"/>
                  <a:gd name="T76" fmla="*/ 456 w 676"/>
                  <a:gd name="T77" fmla="*/ 419 h 678"/>
                  <a:gd name="T78" fmla="*/ 494 w 676"/>
                  <a:gd name="T79" fmla="*/ 527 h 678"/>
                  <a:gd name="T80" fmla="*/ 393 w 676"/>
                  <a:gd name="T81" fmla="*/ 564 h 678"/>
                  <a:gd name="T82" fmla="*/ 325 w 676"/>
                  <a:gd name="T83" fmla="*/ 669 h 678"/>
                  <a:gd name="T84" fmla="*/ 165 w 676"/>
                  <a:gd name="T85" fmla="*/ 577 h 678"/>
                  <a:gd name="T86" fmla="*/ 261 w 676"/>
                  <a:gd name="T87" fmla="*/ 664 h 678"/>
                  <a:gd name="T88" fmla="*/ 323 w 676"/>
                  <a:gd name="T89" fmla="*/ 591 h 678"/>
                  <a:gd name="T90" fmla="*/ 449 w 676"/>
                  <a:gd name="T91" fmla="*/ 573 h 678"/>
                  <a:gd name="T92" fmla="*/ 432 w 676"/>
                  <a:gd name="T93" fmla="*/ 479 h 678"/>
                  <a:gd name="T94" fmla="*/ 445 w 676"/>
                  <a:gd name="T95" fmla="*/ 396 h 678"/>
                  <a:gd name="T96" fmla="*/ 421 w 676"/>
                  <a:gd name="T97" fmla="*/ 325 h 678"/>
                  <a:gd name="T98" fmla="*/ 356 w 676"/>
                  <a:gd name="T99" fmla="*/ 258 h 678"/>
                  <a:gd name="T100" fmla="*/ 286 w 676"/>
                  <a:gd name="T101" fmla="*/ 233 h 678"/>
                  <a:gd name="T102" fmla="*/ 199 w 676"/>
                  <a:gd name="T103" fmla="*/ 245 h 678"/>
                  <a:gd name="T104" fmla="*/ 106 w 676"/>
                  <a:gd name="T105" fmla="*/ 228 h 678"/>
                  <a:gd name="T106" fmla="*/ 85 w 676"/>
                  <a:gd name="T107" fmla="*/ 357 h 678"/>
                  <a:gd name="T108" fmla="*/ 14 w 676"/>
                  <a:gd name="T109" fmla="*/ 419 h 678"/>
                  <a:gd name="T110" fmla="*/ 104 w 676"/>
                  <a:gd name="T111" fmla="*/ 519 h 678"/>
                  <a:gd name="T112" fmla="*/ 109 w 676"/>
                  <a:gd name="T113" fmla="*/ 613 h 678"/>
                  <a:gd name="T114" fmla="*/ 258 w 676"/>
                  <a:gd name="T115" fmla="*/ 484 h 678"/>
                  <a:gd name="T116" fmla="*/ 323 w 676"/>
                  <a:gd name="T117" fmla="*/ 419 h 678"/>
                  <a:gd name="T118" fmla="*/ 207 w 676"/>
                  <a:gd name="T119" fmla="*/ 419 h 678"/>
                  <a:gd name="T120" fmla="*/ 258 w 676"/>
                  <a:gd name="T121" fmla="*/ 368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76" h="678">
                    <a:moveTo>
                      <a:pt x="556" y="314"/>
                    </a:moveTo>
                    <a:cubicBezTo>
                      <a:pt x="554" y="314"/>
                      <a:pt x="551" y="313"/>
                      <a:pt x="550" y="311"/>
                    </a:cubicBezTo>
                    <a:cubicBezTo>
                      <a:pt x="529" y="279"/>
                      <a:pt x="529" y="279"/>
                      <a:pt x="529" y="279"/>
                    </a:cubicBezTo>
                    <a:cubicBezTo>
                      <a:pt x="508" y="281"/>
                      <a:pt x="488" y="277"/>
                      <a:pt x="468" y="269"/>
                    </a:cubicBezTo>
                    <a:cubicBezTo>
                      <a:pt x="439" y="293"/>
                      <a:pt x="439" y="293"/>
                      <a:pt x="439" y="293"/>
                    </a:cubicBezTo>
                    <a:cubicBezTo>
                      <a:pt x="437" y="295"/>
                      <a:pt x="433" y="295"/>
                      <a:pt x="431" y="293"/>
                    </a:cubicBezTo>
                    <a:cubicBezTo>
                      <a:pt x="412" y="281"/>
                      <a:pt x="397" y="266"/>
                      <a:pt x="385" y="248"/>
                    </a:cubicBezTo>
                    <a:cubicBezTo>
                      <a:pt x="383" y="245"/>
                      <a:pt x="383" y="242"/>
                      <a:pt x="385" y="239"/>
                    </a:cubicBezTo>
                    <a:cubicBezTo>
                      <a:pt x="409" y="210"/>
                      <a:pt x="409" y="210"/>
                      <a:pt x="409" y="210"/>
                    </a:cubicBezTo>
                    <a:cubicBezTo>
                      <a:pt x="401" y="194"/>
                      <a:pt x="398" y="177"/>
                      <a:pt x="398" y="160"/>
                    </a:cubicBezTo>
                    <a:cubicBezTo>
                      <a:pt x="398" y="155"/>
                      <a:pt x="398" y="151"/>
                      <a:pt x="398" y="146"/>
                    </a:cubicBezTo>
                    <a:cubicBezTo>
                      <a:pt x="367" y="125"/>
                      <a:pt x="367" y="125"/>
                      <a:pt x="367" y="125"/>
                    </a:cubicBezTo>
                    <a:cubicBezTo>
                      <a:pt x="364" y="124"/>
                      <a:pt x="363" y="120"/>
                      <a:pt x="364" y="117"/>
                    </a:cubicBezTo>
                    <a:cubicBezTo>
                      <a:pt x="370" y="96"/>
                      <a:pt x="380" y="77"/>
                      <a:pt x="393" y="60"/>
                    </a:cubicBezTo>
                    <a:cubicBezTo>
                      <a:pt x="395" y="57"/>
                      <a:pt x="399" y="57"/>
                      <a:pt x="401" y="58"/>
                    </a:cubicBezTo>
                    <a:cubicBezTo>
                      <a:pt x="437" y="71"/>
                      <a:pt x="437" y="71"/>
                      <a:pt x="437" y="71"/>
                    </a:cubicBezTo>
                    <a:cubicBezTo>
                      <a:pt x="453" y="57"/>
                      <a:pt x="472" y="47"/>
                      <a:pt x="494" y="43"/>
                    </a:cubicBezTo>
                    <a:cubicBezTo>
                      <a:pt x="504" y="6"/>
                      <a:pt x="504" y="6"/>
                      <a:pt x="504" y="6"/>
                    </a:cubicBezTo>
                    <a:cubicBezTo>
                      <a:pt x="505" y="3"/>
                      <a:pt x="507" y="1"/>
                      <a:pt x="510" y="1"/>
                    </a:cubicBezTo>
                    <a:cubicBezTo>
                      <a:pt x="532" y="0"/>
                      <a:pt x="554" y="4"/>
                      <a:pt x="574" y="11"/>
                    </a:cubicBezTo>
                    <a:cubicBezTo>
                      <a:pt x="577" y="12"/>
                      <a:pt x="579" y="15"/>
                      <a:pt x="579" y="18"/>
                    </a:cubicBezTo>
                    <a:cubicBezTo>
                      <a:pt x="577" y="56"/>
                      <a:pt x="577" y="56"/>
                      <a:pt x="577" y="56"/>
                    </a:cubicBezTo>
                    <a:cubicBezTo>
                      <a:pt x="596" y="67"/>
                      <a:pt x="611" y="83"/>
                      <a:pt x="621" y="102"/>
                    </a:cubicBezTo>
                    <a:cubicBezTo>
                      <a:pt x="659" y="100"/>
                      <a:pt x="659" y="100"/>
                      <a:pt x="659" y="100"/>
                    </a:cubicBezTo>
                    <a:cubicBezTo>
                      <a:pt x="662" y="100"/>
                      <a:pt x="665" y="102"/>
                      <a:pt x="666" y="105"/>
                    </a:cubicBezTo>
                    <a:cubicBezTo>
                      <a:pt x="673" y="122"/>
                      <a:pt x="676" y="141"/>
                      <a:pt x="676" y="160"/>
                    </a:cubicBezTo>
                    <a:cubicBezTo>
                      <a:pt x="676" y="163"/>
                      <a:pt x="676" y="166"/>
                      <a:pt x="676" y="169"/>
                    </a:cubicBezTo>
                    <a:cubicBezTo>
                      <a:pt x="676" y="172"/>
                      <a:pt x="674" y="174"/>
                      <a:pt x="671" y="175"/>
                    </a:cubicBezTo>
                    <a:cubicBezTo>
                      <a:pt x="634" y="185"/>
                      <a:pt x="634" y="185"/>
                      <a:pt x="634" y="185"/>
                    </a:cubicBezTo>
                    <a:cubicBezTo>
                      <a:pt x="629" y="206"/>
                      <a:pt x="619" y="225"/>
                      <a:pt x="605" y="241"/>
                    </a:cubicBezTo>
                    <a:cubicBezTo>
                      <a:pt x="618" y="277"/>
                      <a:pt x="618" y="277"/>
                      <a:pt x="618" y="277"/>
                    </a:cubicBezTo>
                    <a:cubicBezTo>
                      <a:pt x="619" y="279"/>
                      <a:pt x="618" y="283"/>
                      <a:pt x="616" y="284"/>
                    </a:cubicBezTo>
                    <a:cubicBezTo>
                      <a:pt x="598" y="298"/>
                      <a:pt x="579" y="308"/>
                      <a:pt x="558" y="314"/>
                    </a:cubicBezTo>
                    <a:cubicBezTo>
                      <a:pt x="557" y="314"/>
                      <a:pt x="557" y="314"/>
                      <a:pt x="556" y="314"/>
                    </a:cubicBezTo>
                    <a:close/>
                    <a:moveTo>
                      <a:pt x="533" y="264"/>
                    </a:moveTo>
                    <a:cubicBezTo>
                      <a:pt x="535" y="264"/>
                      <a:pt x="538" y="265"/>
                      <a:pt x="539" y="267"/>
                    </a:cubicBezTo>
                    <a:cubicBezTo>
                      <a:pt x="559" y="299"/>
                      <a:pt x="559" y="299"/>
                      <a:pt x="559" y="299"/>
                    </a:cubicBezTo>
                    <a:cubicBezTo>
                      <a:pt x="575" y="294"/>
                      <a:pt x="590" y="286"/>
                      <a:pt x="603" y="277"/>
                    </a:cubicBezTo>
                    <a:cubicBezTo>
                      <a:pt x="590" y="242"/>
                      <a:pt x="590" y="242"/>
                      <a:pt x="590" y="242"/>
                    </a:cubicBezTo>
                    <a:cubicBezTo>
                      <a:pt x="589" y="239"/>
                      <a:pt x="590" y="236"/>
                      <a:pt x="592" y="234"/>
                    </a:cubicBezTo>
                    <a:cubicBezTo>
                      <a:pt x="607" y="219"/>
                      <a:pt x="617" y="199"/>
                      <a:pt x="621" y="178"/>
                    </a:cubicBezTo>
                    <a:cubicBezTo>
                      <a:pt x="621" y="175"/>
                      <a:pt x="623" y="173"/>
                      <a:pt x="626" y="172"/>
                    </a:cubicBezTo>
                    <a:cubicBezTo>
                      <a:pt x="662" y="163"/>
                      <a:pt x="662" y="163"/>
                      <a:pt x="662" y="163"/>
                    </a:cubicBezTo>
                    <a:cubicBezTo>
                      <a:pt x="662" y="162"/>
                      <a:pt x="662" y="161"/>
                      <a:pt x="662" y="160"/>
                    </a:cubicBezTo>
                    <a:cubicBezTo>
                      <a:pt x="662" y="144"/>
                      <a:pt x="660" y="129"/>
                      <a:pt x="655" y="114"/>
                    </a:cubicBezTo>
                    <a:cubicBezTo>
                      <a:pt x="618" y="116"/>
                      <a:pt x="618" y="116"/>
                      <a:pt x="618" y="116"/>
                    </a:cubicBezTo>
                    <a:cubicBezTo>
                      <a:pt x="615" y="116"/>
                      <a:pt x="612" y="114"/>
                      <a:pt x="611" y="112"/>
                    </a:cubicBezTo>
                    <a:cubicBezTo>
                      <a:pt x="601" y="92"/>
                      <a:pt x="586" y="77"/>
                      <a:pt x="566" y="67"/>
                    </a:cubicBezTo>
                    <a:cubicBezTo>
                      <a:pt x="564" y="65"/>
                      <a:pt x="562" y="63"/>
                      <a:pt x="563" y="60"/>
                    </a:cubicBezTo>
                    <a:cubicBezTo>
                      <a:pt x="565" y="23"/>
                      <a:pt x="565" y="23"/>
                      <a:pt x="565" y="23"/>
                    </a:cubicBezTo>
                    <a:cubicBezTo>
                      <a:pt x="549" y="17"/>
                      <a:pt x="533" y="15"/>
                      <a:pt x="517" y="15"/>
                    </a:cubicBezTo>
                    <a:cubicBezTo>
                      <a:pt x="517" y="15"/>
                      <a:pt x="516" y="15"/>
                      <a:pt x="516" y="15"/>
                    </a:cubicBezTo>
                    <a:cubicBezTo>
                      <a:pt x="506" y="51"/>
                      <a:pt x="506" y="51"/>
                      <a:pt x="506" y="51"/>
                    </a:cubicBezTo>
                    <a:cubicBezTo>
                      <a:pt x="505" y="53"/>
                      <a:pt x="503" y="55"/>
                      <a:pt x="500" y="56"/>
                    </a:cubicBezTo>
                    <a:cubicBezTo>
                      <a:pt x="479" y="59"/>
                      <a:pt x="459" y="69"/>
                      <a:pt x="443" y="84"/>
                    </a:cubicBezTo>
                    <a:cubicBezTo>
                      <a:pt x="442" y="86"/>
                      <a:pt x="439" y="87"/>
                      <a:pt x="436" y="86"/>
                    </a:cubicBezTo>
                    <a:cubicBezTo>
                      <a:pt x="401" y="73"/>
                      <a:pt x="401" y="73"/>
                      <a:pt x="401" y="73"/>
                    </a:cubicBezTo>
                    <a:cubicBezTo>
                      <a:pt x="391" y="86"/>
                      <a:pt x="384" y="101"/>
                      <a:pt x="379" y="116"/>
                    </a:cubicBezTo>
                    <a:cubicBezTo>
                      <a:pt x="410" y="137"/>
                      <a:pt x="410" y="137"/>
                      <a:pt x="410" y="137"/>
                    </a:cubicBezTo>
                    <a:cubicBezTo>
                      <a:pt x="412" y="138"/>
                      <a:pt x="413" y="141"/>
                      <a:pt x="413" y="144"/>
                    </a:cubicBezTo>
                    <a:cubicBezTo>
                      <a:pt x="412" y="149"/>
                      <a:pt x="412" y="154"/>
                      <a:pt x="412" y="160"/>
                    </a:cubicBezTo>
                    <a:cubicBezTo>
                      <a:pt x="412" y="176"/>
                      <a:pt x="415" y="193"/>
                      <a:pt x="423" y="207"/>
                    </a:cubicBezTo>
                    <a:cubicBezTo>
                      <a:pt x="424" y="210"/>
                      <a:pt x="424" y="213"/>
                      <a:pt x="422" y="215"/>
                    </a:cubicBezTo>
                    <a:cubicBezTo>
                      <a:pt x="399" y="244"/>
                      <a:pt x="399" y="244"/>
                      <a:pt x="399" y="244"/>
                    </a:cubicBezTo>
                    <a:cubicBezTo>
                      <a:pt x="409" y="258"/>
                      <a:pt x="421" y="269"/>
                      <a:pt x="434" y="279"/>
                    </a:cubicBezTo>
                    <a:cubicBezTo>
                      <a:pt x="463" y="255"/>
                      <a:pt x="463" y="255"/>
                      <a:pt x="463" y="255"/>
                    </a:cubicBezTo>
                    <a:cubicBezTo>
                      <a:pt x="465" y="254"/>
                      <a:pt x="468" y="253"/>
                      <a:pt x="471" y="254"/>
                    </a:cubicBezTo>
                    <a:cubicBezTo>
                      <a:pt x="485" y="262"/>
                      <a:pt x="501" y="265"/>
                      <a:pt x="517" y="265"/>
                    </a:cubicBezTo>
                    <a:cubicBezTo>
                      <a:pt x="522" y="265"/>
                      <a:pt x="527" y="265"/>
                      <a:pt x="532" y="264"/>
                    </a:cubicBezTo>
                    <a:cubicBezTo>
                      <a:pt x="532" y="264"/>
                      <a:pt x="533" y="264"/>
                      <a:pt x="533" y="264"/>
                    </a:cubicBezTo>
                    <a:close/>
                    <a:moveTo>
                      <a:pt x="517" y="199"/>
                    </a:moveTo>
                    <a:cubicBezTo>
                      <a:pt x="496" y="199"/>
                      <a:pt x="478" y="181"/>
                      <a:pt x="478" y="160"/>
                    </a:cubicBezTo>
                    <a:cubicBezTo>
                      <a:pt x="478" y="138"/>
                      <a:pt x="496" y="121"/>
                      <a:pt x="517" y="121"/>
                    </a:cubicBezTo>
                    <a:cubicBezTo>
                      <a:pt x="539" y="121"/>
                      <a:pt x="556" y="138"/>
                      <a:pt x="556" y="160"/>
                    </a:cubicBezTo>
                    <a:cubicBezTo>
                      <a:pt x="556" y="181"/>
                      <a:pt x="539" y="199"/>
                      <a:pt x="517" y="199"/>
                    </a:cubicBezTo>
                    <a:close/>
                    <a:moveTo>
                      <a:pt x="517" y="135"/>
                    </a:moveTo>
                    <a:cubicBezTo>
                      <a:pt x="503" y="135"/>
                      <a:pt x="492" y="146"/>
                      <a:pt x="492" y="160"/>
                    </a:cubicBezTo>
                    <a:cubicBezTo>
                      <a:pt x="492" y="174"/>
                      <a:pt x="503" y="185"/>
                      <a:pt x="517" y="185"/>
                    </a:cubicBezTo>
                    <a:cubicBezTo>
                      <a:pt x="531" y="185"/>
                      <a:pt x="542" y="174"/>
                      <a:pt x="542" y="160"/>
                    </a:cubicBezTo>
                    <a:cubicBezTo>
                      <a:pt x="542" y="146"/>
                      <a:pt x="531" y="135"/>
                      <a:pt x="517" y="135"/>
                    </a:cubicBezTo>
                    <a:close/>
                    <a:moveTo>
                      <a:pt x="258" y="678"/>
                    </a:moveTo>
                    <a:cubicBezTo>
                      <a:pt x="256" y="678"/>
                      <a:pt x="256" y="678"/>
                      <a:pt x="256" y="678"/>
                    </a:cubicBezTo>
                    <a:cubicBezTo>
                      <a:pt x="252" y="678"/>
                      <a:pt x="250" y="676"/>
                      <a:pt x="249" y="673"/>
                    </a:cubicBezTo>
                    <a:cubicBezTo>
                      <a:pt x="233" y="615"/>
                      <a:pt x="233" y="615"/>
                      <a:pt x="233" y="615"/>
                    </a:cubicBezTo>
                    <a:cubicBezTo>
                      <a:pt x="208" y="612"/>
                      <a:pt x="184" y="604"/>
                      <a:pt x="162" y="592"/>
                    </a:cubicBezTo>
                    <a:cubicBezTo>
                      <a:pt x="113" y="628"/>
                      <a:pt x="113" y="628"/>
                      <a:pt x="113" y="628"/>
                    </a:cubicBezTo>
                    <a:cubicBezTo>
                      <a:pt x="111" y="630"/>
                      <a:pt x="108" y="630"/>
                      <a:pt x="105" y="628"/>
                    </a:cubicBezTo>
                    <a:cubicBezTo>
                      <a:pt x="86" y="614"/>
                      <a:pt x="69" y="598"/>
                      <a:pt x="55" y="579"/>
                    </a:cubicBezTo>
                    <a:cubicBezTo>
                      <a:pt x="53" y="577"/>
                      <a:pt x="53" y="574"/>
                      <a:pt x="55" y="571"/>
                    </a:cubicBezTo>
                    <a:cubicBezTo>
                      <a:pt x="90" y="522"/>
                      <a:pt x="90" y="522"/>
                      <a:pt x="90" y="522"/>
                    </a:cubicBezTo>
                    <a:cubicBezTo>
                      <a:pt x="75" y="499"/>
                      <a:pt x="66" y="474"/>
                      <a:pt x="62" y="447"/>
                    </a:cubicBezTo>
                    <a:cubicBezTo>
                      <a:pt x="5" y="431"/>
                      <a:pt x="5" y="431"/>
                      <a:pt x="5" y="431"/>
                    </a:cubicBezTo>
                    <a:cubicBezTo>
                      <a:pt x="2" y="430"/>
                      <a:pt x="0" y="427"/>
                      <a:pt x="0" y="424"/>
                    </a:cubicBezTo>
                    <a:cubicBezTo>
                      <a:pt x="0" y="423"/>
                      <a:pt x="0" y="421"/>
                      <a:pt x="0" y="419"/>
                    </a:cubicBezTo>
                    <a:cubicBezTo>
                      <a:pt x="0" y="398"/>
                      <a:pt x="2" y="376"/>
                      <a:pt x="8" y="355"/>
                    </a:cubicBezTo>
                    <a:cubicBezTo>
                      <a:pt x="8" y="352"/>
                      <a:pt x="11" y="350"/>
                      <a:pt x="14" y="350"/>
                    </a:cubicBezTo>
                    <a:cubicBezTo>
                      <a:pt x="74" y="348"/>
                      <a:pt x="74" y="348"/>
                      <a:pt x="74" y="348"/>
                    </a:cubicBezTo>
                    <a:cubicBezTo>
                      <a:pt x="83" y="324"/>
                      <a:pt x="97" y="302"/>
                      <a:pt x="114" y="283"/>
                    </a:cubicBezTo>
                    <a:cubicBezTo>
                      <a:pt x="91" y="229"/>
                      <a:pt x="91" y="229"/>
                      <a:pt x="91" y="229"/>
                    </a:cubicBezTo>
                    <a:cubicBezTo>
                      <a:pt x="89" y="226"/>
                      <a:pt x="90" y="223"/>
                      <a:pt x="93" y="221"/>
                    </a:cubicBezTo>
                    <a:cubicBezTo>
                      <a:pt x="110" y="206"/>
                      <a:pt x="130" y="193"/>
                      <a:pt x="151" y="184"/>
                    </a:cubicBezTo>
                    <a:cubicBezTo>
                      <a:pt x="154" y="182"/>
                      <a:pt x="157" y="183"/>
                      <a:pt x="159" y="185"/>
                    </a:cubicBezTo>
                    <a:cubicBezTo>
                      <a:pt x="199" y="230"/>
                      <a:pt x="199" y="230"/>
                      <a:pt x="199" y="230"/>
                    </a:cubicBezTo>
                    <a:cubicBezTo>
                      <a:pt x="218" y="224"/>
                      <a:pt x="238" y="221"/>
                      <a:pt x="258" y="221"/>
                    </a:cubicBezTo>
                    <a:cubicBezTo>
                      <a:pt x="264" y="221"/>
                      <a:pt x="270" y="222"/>
                      <a:pt x="276" y="222"/>
                    </a:cubicBezTo>
                    <a:cubicBezTo>
                      <a:pt x="304" y="170"/>
                      <a:pt x="304" y="170"/>
                      <a:pt x="304" y="170"/>
                    </a:cubicBezTo>
                    <a:cubicBezTo>
                      <a:pt x="306" y="167"/>
                      <a:pt x="309" y="165"/>
                      <a:pt x="312" y="166"/>
                    </a:cubicBezTo>
                    <a:cubicBezTo>
                      <a:pt x="335" y="171"/>
                      <a:pt x="357" y="179"/>
                      <a:pt x="378" y="190"/>
                    </a:cubicBezTo>
                    <a:cubicBezTo>
                      <a:pt x="380" y="191"/>
                      <a:pt x="382" y="194"/>
                      <a:pt x="381" y="197"/>
                    </a:cubicBezTo>
                    <a:cubicBezTo>
                      <a:pt x="371" y="256"/>
                      <a:pt x="371" y="256"/>
                      <a:pt x="371" y="256"/>
                    </a:cubicBezTo>
                    <a:cubicBezTo>
                      <a:pt x="391" y="271"/>
                      <a:pt x="410" y="289"/>
                      <a:pt x="423" y="310"/>
                    </a:cubicBezTo>
                    <a:cubicBezTo>
                      <a:pt x="482" y="300"/>
                      <a:pt x="482" y="300"/>
                      <a:pt x="482" y="300"/>
                    </a:cubicBezTo>
                    <a:cubicBezTo>
                      <a:pt x="485" y="299"/>
                      <a:pt x="489" y="301"/>
                      <a:pt x="490" y="303"/>
                    </a:cubicBezTo>
                    <a:cubicBezTo>
                      <a:pt x="500" y="325"/>
                      <a:pt x="508" y="347"/>
                      <a:pt x="513" y="370"/>
                    </a:cubicBezTo>
                    <a:cubicBezTo>
                      <a:pt x="513" y="373"/>
                      <a:pt x="512" y="376"/>
                      <a:pt x="509" y="378"/>
                    </a:cubicBezTo>
                    <a:cubicBezTo>
                      <a:pt x="456" y="406"/>
                      <a:pt x="456" y="406"/>
                      <a:pt x="456" y="406"/>
                    </a:cubicBezTo>
                    <a:cubicBezTo>
                      <a:pt x="456" y="410"/>
                      <a:pt x="456" y="415"/>
                      <a:pt x="456" y="419"/>
                    </a:cubicBezTo>
                    <a:cubicBezTo>
                      <a:pt x="456" y="439"/>
                      <a:pt x="453" y="459"/>
                      <a:pt x="447" y="479"/>
                    </a:cubicBezTo>
                    <a:cubicBezTo>
                      <a:pt x="492" y="519"/>
                      <a:pt x="492" y="519"/>
                      <a:pt x="492" y="519"/>
                    </a:cubicBezTo>
                    <a:cubicBezTo>
                      <a:pt x="494" y="521"/>
                      <a:pt x="495" y="524"/>
                      <a:pt x="494" y="527"/>
                    </a:cubicBezTo>
                    <a:cubicBezTo>
                      <a:pt x="484" y="548"/>
                      <a:pt x="471" y="568"/>
                      <a:pt x="456" y="586"/>
                    </a:cubicBezTo>
                    <a:cubicBezTo>
                      <a:pt x="454" y="589"/>
                      <a:pt x="451" y="589"/>
                      <a:pt x="448" y="588"/>
                    </a:cubicBezTo>
                    <a:cubicBezTo>
                      <a:pt x="393" y="564"/>
                      <a:pt x="393" y="564"/>
                      <a:pt x="393" y="564"/>
                    </a:cubicBezTo>
                    <a:cubicBezTo>
                      <a:pt x="375" y="581"/>
                      <a:pt x="355" y="594"/>
                      <a:pt x="333" y="603"/>
                    </a:cubicBezTo>
                    <a:cubicBezTo>
                      <a:pt x="330" y="663"/>
                      <a:pt x="330" y="663"/>
                      <a:pt x="330" y="663"/>
                    </a:cubicBezTo>
                    <a:cubicBezTo>
                      <a:pt x="330" y="666"/>
                      <a:pt x="328" y="669"/>
                      <a:pt x="325" y="669"/>
                    </a:cubicBezTo>
                    <a:cubicBezTo>
                      <a:pt x="303" y="675"/>
                      <a:pt x="281" y="678"/>
                      <a:pt x="258" y="678"/>
                    </a:cubicBezTo>
                    <a:close/>
                    <a:moveTo>
                      <a:pt x="161" y="576"/>
                    </a:moveTo>
                    <a:cubicBezTo>
                      <a:pt x="162" y="576"/>
                      <a:pt x="164" y="577"/>
                      <a:pt x="165" y="577"/>
                    </a:cubicBezTo>
                    <a:cubicBezTo>
                      <a:pt x="188" y="591"/>
                      <a:pt x="213" y="599"/>
                      <a:pt x="239" y="602"/>
                    </a:cubicBezTo>
                    <a:cubicBezTo>
                      <a:pt x="242" y="602"/>
                      <a:pt x="244" y="604"/>
                      <a:pt x="245" y="607"/>
                    </a:cubicBezTo>
                    <a:cubicBezTo>
                      <a:pt x="261" y="664"/>
                      <a:pt x="261" y="664"/>
                      <a:pt x="261" y="664"/>
                    </a:cubicBezTo>
                    <a:cubicBezTo>
                      <a:pt x="280" y="664"/>
                      <a:pt x="298" y="661"/>
                      <a:pt x="316" y="657"/>
                    </a:cubicBezTo>
                    <a:cubicBezTo>
                      <a:pt x="319" y="598"/>
                      <a:pt x="319" y="598"/>
                      <a:pt x="319" y="598"/>
                    </a:cubicBezTo>
                    <a:cubicBezTo>
                      <a:pt x="319" y="595"/>
                      <a:pt x="321" y="592"/>
                      <a:pt x="323" y="591"/>
                    </a:cubicBezTo>
                    <a:cubicBezTo>
                      <a:pt x="347" y="582"/>
                      <a:pt x="368" y="569"/>
                      <a:pt x="387" y="551"/>
                    </a:cubicBezTo>
                    <a:cubicBezTo>
                      <a:pt x="389" y="549"/>
                      <a:pt x="392" y="548"/>
                      <a:pt x="394" y="549"/>
                    </a:cubicBezTo>
                    <a:cubicBezTo>
                      <a:pt x="449" y="573"/>
                      <a:pt x="449" y="573"/>
                      <a:pt x="449" y="573"/>
                    </a:cubicBezTo>
                    <a:cubicBezTo>
                      <a:pt x="461" y="558"/>
                      <a:pt x="471" y="542"/>
                      <a:pt x="479" y="526"/>
                    </a:cubicBezTo>
                    <a:cubicBezTo>
                      <a:pt x="434" y="486"/>
                      <a:pt x="434" y="486"/>
                      <a:pt x="434" y="486"/>
                    </a:cubicBezTo>
                    <a:cubicBezTo>
                      <a:pt x="432" y="484"/>
                      <a:pt x="431" y="481"/>
                      <a:pt x="432" y="479"/>
                    </a:cubicBezTo>
                    <a:cubicBezTo>
                      <a:pt x="439" y="459"/>
                      <a:pt x="442" y="439"/>
                      <a:pt x="442" y="419"/>
                    </a:cubicBezTo>
                    <a:cubicBezTo>
                      <a:pt x="442" y="414"/>
                      <a:pt x="442" y="408"/>
                      <a:pt x="441" y="402"/>
                    </a:cubicBezTo>
                    <a:cubicBezTo>
                      <a:pt x="441" y="400"/>
                      <a:pt x="443" y="397"/>
                      <a:pt x="445" y="396"/>
                    </a:cubicBezTo>
                    <a:cubicBezTo>
                      <a:pt x="498" y="368"/>
                      <a:pt x="498" y="368"/>
                      <a:pt x="498" y="368"/>
                    </a:cubicBezTo>
                    <a:cubicBezTo>
                      <a:pt x="494" y="349"/>
                      <a:pt x="488" y="331"/>
                      <a:pt x="480" y="314"/>
                    </a:cubicBezTo>
                    <a:cubicBezTo>
                      <a:pt x="421" y="325"/>
                      <a:pt x="421" y="325"/>
                      <a:pt x="421" y="325"/>
                    </a:cubicBezTo>
                    <a:cubicBezTo>
                      <a:pt x="419" y="325"/>
                      <a:pt x="416" y="324"/>
                      <a:pt x="414" y="322"/>
                    </a:cubicBezTo>
                    <a:cubicBezTo>
                      <a:pt x="400" y="299"/>
                      <a:pt x="381" y="280"/>
                      <a:pt x="359" y="265"/>
                    </a:cubicBezTo>
                    <a:cubicBezTo>
                      <a:pt x="357" y="264"/>
                      <a:pt x="356" y="261"/>
                      <a:pt x="356" y="258"/>
                    </a:cubicBezTo>
                    <a:cubicBezTo>
                      <a:pt x="367" y="200"/>
                      <a:pt x="367" y="200"/>
                      <a:pt x="367" y="200"/>
                    </a:cubicBezTo>
                    <a:cubicBezTo>
                      <a:pt x="350" y="191"/>
                      <a:pt x="332" y="185"/>
                      <a:pt x="314" y="181"/>
                    </a:cubicBezTo>
                    <a:cubicBezTo>
                      <a:pt x="286" y="233"/>
                      <a:pt x="286" y="233"/>
                      <a:pt x="286" y="233"/>
                    </a:cubicBezTo>
                    <a:cubicBezTo>
                      <a:pt x="285" y="235"/>
                      <a:pt x="282" y="237"/>
                      <a:pt x="279" y="237"/>
                    </a:cubicBezTo>
                    <a:cubicBezTo>
                      <a:pt x="272" y="236"/>
                      <a:pt x="265" y="235"/>
                      <a:pt x="258" y="235"/>
                    </a:cubicBezTo>
                    <a:cubicBezTo>
                      <a:pt x="238" y="235"/>
                      <a:pt x="218" y="239"/>
                      <a:pt x="199" y="245"/>
                    </a:cubicBezTo>
                    <a:cubicBezTo>
                      <a:pt x="197" y="246"/>
                      <a:pt x="194" y="245"/>
                      <a:pt x="192" y="243"/>
                    </a:cubicBezTo>
                    <a:cubicBezTo>
                      <a:pt x="152" y="198"/>
                      <a:pt x="152" y="198"/>
                      <a:pt x="152" y="198"/>
                    </a:cubicBezTo>
                    <a:cubicBezTo>
                      <a:pt x="136" y="207"/>
                      <a:pt x="120" y="216"/>
                      <a:pt x="106" y="228"/>
                    </a:cubicBezTo>
                    <a:cubicBezTo>
                      <a:pt x="129" y="282"/>
                      <a:pt x="129" y="282"/>
                      <a:pt x="129" y="282"/>
                    </a:cubicBezTo>
                    <a:cubicBezTo>
                      <a:pt x="130" y="285"/>
                      <a:pt x="130" y="288"/>
                      <a:pt x="128" y="290"/>
                    </a:cubicBezTo>
                    <a:cubicBezTo>
                      <a:pt x="109" y="309"/>
                      <a:pt x="94" y="332"/>
                      <a:pt x="85" y="357"/>
                    </a:cubicBezTo>
                    <a:cubicBezTo>
                      <a:pt x="84" y="360"/>
                      <a:pt x="82" y="361"/>
                      <a:pt x="79" y="362"/>
                    </a:cubicBezTo>
                    <a:cubicBezTo>
                      <a:pt x="20" y="364"/>
                      <a:pt x="20" y="364"/>
                      <a:pt x="20" y="364"/>
                    </a:cubicBezTo>
                    <a:cubicBezTo>
                      <a:pt x="16" y="382"/>
                      <a:pt x="14" y="400"/>
                      <a:pt x="14" y="419"/>
                    </a:cubicBezTo>
                    <a:cubicBezTo>
                      <a:pt x="71" y="435"/>
                      <a:pt x="71" y="435"/>
                      <a:pt x="71" y="435"/>
                    </a:cubicBezTo>
                    <a:cubicBezTo>
                      <a:pt x="73" y="435"/>
                      <a:pt x="75" y="438"/>
                      <a:pt x="76" y="441"/>
                    </a:cubicBezTo>
                    <a:cubicBezTo>
                      <a:pt x="79" y="468"/>
                      <a:pt x="89" y="495"/>
                      <a:pt x="104" y="519"/>
                    </a:cubicBezTo>
                    <a:cubicBezTo>
                      <a:pt x="105" y="521"/>
                      <a:pt x="105" y="524"/>
                      <a:pt x="104" y="527"/>
                    </a:cubicBezTo>
                    <a:cubicBezTo>
                      <a:pt x="69" y="575"/>
                      <a:pt x="69" y="575"/>
                      <a:pt x="69" y="575"/>
                    </a:cubicBezTo>
                    <a:cubicBezTo>
                      <a:pt x="81" y="589"/>
                      <a:pt x="94" y="602"/>
                      <a:pt x="109" y="613"/>
                    </a:cubicBezTo>
                    <a:cubicBezTo>
                      <a:pt x="157" y="578"/>
                      <a:pt x="157" y="578"/>
                      <a:pt x="157" y="578"/>
                    </a:cubicBezTo>
                    <a:cubicBezTo>
                      <a:pt x="158" y="577"/>
                      <a:pt x="160" y="576"/>
                      <a:pt x="161" y="576"/>
                    </a:cubicBezTo>
                    <a:close/>
                    <a:moveTo>
                      <a:pt x="258" y="484"/>
                    </a:moveTo>
                    <a:cubicBezTo>
                      <a:pt x="223" y="484"/>
                      <a:pt x="193" y="455"/>
                      <a:pt x="193" y="419"/>
                    </a:cubicBezTo>
                    <a:cubicBezTo>
                      <a:pt x="193" y="383"/>
                      <a:pt x="223" y="354"/>
                      <a:pt x="258" y="354"/>
                    </a:cubicBezTo>
                    <a:cubicBezTo>
                      <a:pt x="294" y="354"/>
                      <a:pt x="323" y="383"/>
                      <a:pt x="323" y="419"/>
                    </a:cubicBezTo>
                    <a:cubicBezTo>
                      <a:pt x="323" y="455"/>
                      <a:pt x="294" y="484"/>
                      <a:pt x="258" y="484"/>
                    </a:cubicBezTo>
                    <a:close/>
                    <a:moveTo>
                      <a:pt x="258" y="368"/>
                    </a:moveTo>
                    <a:cubicBezTo>
                      <a:pt x="230" y="368"/>
                      <a:pt x="207" y="391"/>
                      <a:pt x="207" y="419"/>
                    </a:cubicBezTo>
                    <a:cubicBezTo>
                      <a:pt x="207" y="447"/>
                      <a:pt x="230" y="470"/>
                      <a:pt x="258" y="470"/>
                    </a:cubicBezTo>
                    <a:cubicBezTo>
                      <a:pt x="286" y="470"/>
                      <a:pt x="309" y="447"/>
                      <a:pt x="309" y="419"/>
                    </a:cubicBezTo>
                    <a:cubicBezTo>
                      <a:pt x="309" y="391"/>
                      <a:pt x="286" y="368"/>
                      <a:pt x="258" y="36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4" name="Группа 23"/>
            <p:cNvGrpSpPr/>
            <p:nvPr/>
          </p:nvGrpSpPr>
          <p:grpSpPr>
            <a:xfrm>
              <a:off x="162498" y="1985912"/>
              <a:ext cx="232080" cy="161811"/>
              <a:chOff x="96438" y="1660238"/>
              <a:chExt cx="183821" cy="153786"/>
            </a:xfrm>
          </p:grpSpPr>
          <p:sp>
            <p:nvSpPr>
              <p:cNvPr id="43" name="Freeform 12"/>
              <p:cNvSpPr>
                <a:spLocks/>
              </p:cNvSpPr>
              <p:nvPr/>
            </p:nvSpPr>
            <p:spPr bwMode="auto">
              <a:xfrm>
                <a:off x="96438" y="1660238"/>
                <a:ext cx="113980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3"/>
              <p:cNvSpPr>
                <a:spLocks/>
              </p:cNvSpPr>
              <p:nvPr/>
            </p:nvSpPr>
            <p:spPr bwMode="auto">
              <a:xfrm>
                <a:off x="199762" y="1684296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24" name="Рисунок 2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013" y="2763267"/>
            <a:ext cx="2622026" cy="1240345"/>
          </a:xfrm>
          <a:prstGeom prst="rect">
            <a:avLst/>
          </a:prstGeom>
          <a:ln w="9525">
            <a:noFill/>
          </a:ln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5906935" y="701996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Прямоугольник 226"/>
          <p:cNvSpPr/>
          <p:nvPr/>
        </p:nvSpPr>
        <p:spPr>
          <a:xfrm>
            <a:off x="319584" y="703944"/>
            <a:ext cx="52067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ТРОИТЕЛЬСТВО УСТАНОВКИ ОЧИСТКИ СУГ </a:t>
            </a:r>
            <a:endParaRPr lang="ru-RU" sz="14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191" name="Picture 2">
            <a:extLst>
              <a:ext uri="{FF2B5EF4-FFF2-40B4-BE49-F238E27FC236}">
                <a16:creationId xmlns:a16="http://schemas.microsoft.com/office/drawing/2014/main" id="{E8BFB986-428C-4E02-91EE-C0D71D2354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01" t="7505" r="16990" b="7564"/>
          <a:stretch/>
        </p:blipFill>
        <p:spPr bwMode="auto">
          <a:xfrm>
            <a:off x="3166962" y="2154066"/>
            <a:ext cx="2636955" cy="1780009"/>
          </a:xfrm>
          <a:prstGeom prst="rect">
            <a:avLst/>
          </a:prstGeom>
          <a:ln w="9525"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" name="Рисунок 2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1051" y="4134173"/>
            <a:ext cx="2602592" cy="1275352"/>
          </a:xfrm>
          <a:prstGeom prst="rect">
            <a:avLst/>
          </a:prstGeom>
          <a:ln w="9525">
            <a:noFill/>
          </a:ln>
        </p:spPr>
      </p:pic>
      <p:pic>
        <p:nvPicPr>
          <p:cNvPr id="226" name="Рисунок 2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7160" y="5557735"/>
            <a:ext cx="2592186" cy="1162369"/>
          </a:xfrm>
          <a:prstGeom prst="rect">
            <a:avLst/>
          </a:prstGeom>
          <a:ln>
            <a:noFill/>
          </a:ln>
        </p:spPr>
      </p:pic>
      <p:sp>
        <p:nvSpPr>
          <p:cNvPr id="203" name="Прямоугольник 202"/>
          <p:cNvSpPr/>
          <p:nvPr/>
        </p:nvSpPr>
        <p:spPr>
          <a:xfrm>
            <a:off x="5906936" y="670012"/>
            <a:ext cx="62850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РЕКОНСТРУКЦИЯ УСТАНОВКИ ГОДТ С ИНТЕГРАЦИЕЙ БЛОКА ДЕПАРАФИНИЗАЦИИ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270" name="Рисунок 26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92887" y="1681777"/>
            <a:ext cx="2639629" cy="2705392"/>
          </a:xfrm>
          <a:prstGeom prst="rect">
            <a:avLst/>
          </a:prstGeom>
          <a:ln w="9525">
            <a:noFill/>
          </a:ln>
        </p:spPr>
      </p:pic>
      <p:grpSp>
        <p:nvGrpSpPr>
          <p:cNvPr id="276" name="Группа 275"/>
          <p:cNvGrpSpPr/>
          <p:nvPr/>
        </p:nvGrpSpPr>
        <p:grpSpPr>
          <a:xfrm>
            <a:off x="6162809" y="2826720"/>
            <a:ext cx="2886659" cy="1546476"/>
            <a:chOff x="6419158" y="236167"/>
            <a:chExt cx="6083078" cy="3383168"/>
          </a:xfrm>
        </p:grpSpPr>
        <p:pic>
          <p:nvPicPr>
            <p:cNvPr id="277" name="Рисунок 276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41" r="1797"/>
            <a:stretch/>
          </p:blipFill>
          <p:spPr>
            <a:xfrm>
              <a:off x="6419158" y="236167"/>
              <a:ext cx="5748424" cy="3068029"/>
            </a:xfrm>
            <a:prstGeom prst="rect">
              <a:avLst/>
            </a:prstGeom>
          </p:spPr>
        </p:pic>
        <p:sp>
          <p:nvSpPr>
            <p:cNvPr id="278" name="Прямоугольник 277"/>
            <p:cNvSpPr/>
            <p:nvPr/>
          </p:nvSpPr>
          <p:spPr>
            <a:xfrm>
              <a:off x="11320060" y="2684385"/>
              <a:ext cx="360041" cy="144017"/>
            </a:xfrm>
            <a:prstGeom prst="rect">
              <a:avLst/>
            </a:prstGeom>
            <a:solidFill>
              <a:srgbClr val="535C6D"/>
            </a:solidFill>
            <a:ln>
              <a:solidFill>
                <a:srgbClr val="535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 b="1"/>
            </a:p>
          </p:txBody>
        </p:sp>
        <p:sp>
          <p:nvSpPr>
            <p:cNvPr id="279" name="Прямоугольник 278"/>
            <p:cNvSpPr/>
            <p:nvPr/>
          </p:nvSpPr>
          <p:spPr>
            <a:xfrm>
              <a:off x="11320062" y="2434600"/>
              <a:ext cx="360041" cy="144017"/>
            </a:xfrm>
            <a:prstGeom prst="rect">
              <a:avLst/>
            </a:prstGeom>
            <a:solidFill>
              <a:srgbClr val="8B776E"/>
            </a:solidFill>
            <a:ln>
              <a:solidFill>
                <a:srgbClr val="8B776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 b="1"/>
            </a:p>
          </p:txBody>
        </p:sp>
        <p:sp>
          <p:nvSpPr>
            <p:cNvPr id="280" name="Прямоугольник 279"/>
            <p:cNvSpPr/>
            <p:nvPr/>
          </p:nvSpPr>
          <p:spPr>
            <a:xfrm>
              <a:off x="11323539" y="2931242"/>
              <a:ext cx="360041" cy="144017"/>
            </a:xfrm>
            <a:prstGeom prst="rect">
              <a:avLst/>
            </a:prstGeom>
            <a:solidFill>
              <a:srgbClr val="D6CFBD"/>
            </a:solidFill>
            <a:ln>
              <a:solidFill>
                <a:srgbClr val="D6CF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 b="1"/>
            </a:p>
          </p:txBody>
        </p:sp>
        <p:sp>
          <p:nvSpPr>
            <p:cNvPr id="281" name="Прямоугольник 280"/>
            <p:cNvSpPr/>
            <p:nvPr/>
          </p:nvSpPr>
          <p:spPr>
            <a:xfrm>
              <a:off x="11521052" y="2525674"/>
              <a:ext cx="963954" cy="4438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600" b="1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- АНПЗ</a:t>
              </a:r>
              <a:endParaRPr lang="ru-RU" sz="600" b="1" dirty="0"/>
            </a:p>
          </p:txBody>
        </p:sp>
        <p:sp>
          <p:nvSpPr>
            <p:cNvPr id="282" name="Прямоугольник 281"/>
            <p:cNvSpPr/>
            <p:nvPr/>
          </p:nvSpPr>
          <p:spPr>
            <a:xfrm>
              <a:off x="11510362" y="2268340"/>
              <a:ext cx="991874" cy="4438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600" b="1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- ПКОП</a:t>
              </a:r>
              <a:endParaRPr lang="ru-RU" sz="600" b="1" dirty="0"/>
            </a:p>
          </p:txBody>
        </p:sp>
        <p:sp>
          <p:nvSpPr>
            <p:cNvPr id="283" name="Прямоугольник 282"/>
            <p:cNvSpPr/>
            <p:nvPr/>
          </p:nvSpPr>
          <p:spPr>
            <a:xfrm>
              <a:off x="11529654" y="2782747"/>
              <a:ext cx="953481" cy="4438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600" b="1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- ПНХЗ</a:t>
              </a:r>
              <a:endParaRPr lang="ru-RU" sz="600" b="1" dirty="0"/>
            </a:p>
          </p:txBody>
        </p:sp>
        <p:sp>
          <p:nvSpPr>
            <p:cNvPr id="284" name="Прямоугольник 283"/>
            <p:cNvSpPr/>
            <p:nvPr/>
          </p:nvSpPr>
          <p:spPr>
            <a:xfrm>
              <a:off x="6787076" y="3339316"/>
              <a:ext cx="360041" cy="144017"/>
            </a:xfrm>
            <a:prstGeom prst="rect">
              <a:avLst/>
            </a:prstGeom>
            <a:solidFill>
              <a:srgbClr val="389D75"/>
            </a:solidFill>
            <a:ln>
              <a:solidFill>
                <a:srgbClr val="389D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 b="1"/>
            </a:p>
          </p:txBody>
        </p:sp>
        <p:sp>
          <p:nvSpPr>
            <p:cNvPr id="285" name="Прямоугольник 284"/>
            <p:cNvSpPr/>
            <p:nvPr/>
          </p:nvSpPr>
          <p:spPr>
            <a:xfrm>
              <a:off x="7011935" y="3175515"/>
              <a:ext cx="3316249" cy="4438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600" b="1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- Импорт ДТЗ с РФ по регионам РК</a:t>
              </a:r>
              <a:endParaRPr lang="ru-RU" sz="600" b="1" dirty="0"/>
            </a:p>
          </p:txBody>
        </p:sp>
        <p:pic>
          <p:nvPicPr>
            <p:cNvPr id="286" name="Рисунок 285">
              <a:extLst>
                <a:ext uri="{FF2B5EF4-FFF2-40B4-BE49-F238E27FC236}">
                  <a16:creationId xmlns:a16="http://schemas.microsoft.com/office/drawing/2014/main" id="{1CBBEEAE-C32D-4C15-8AFA-70898F9826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3784" y="1683654"/>
              <a:ext cx="191639" cy="195158"/>
            </a:xfrm>
            <a:prstGeom prst="rect">
              <a:avLst/>
            </a:prstGeom>
          </p:spPr>
        </p:pic>
        <p:pic>
          <p:nvPicPr>
            <p:cNvPr id="287" name="Рисунок 286">
              <a:extLst>
                <a:ext uri="{FF2B5EF4-FFF2-40B4-BE49-F238E27FC236}">
                  <a16:creationId xmlns:a16="http://schemas.microsoft.com/office/drawing/2014/main" id="{1CBBEEAE-C32D-4C15-8AFA-70898F9826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9619" y="2604220"/>
              <a:ext cx="191639" cy="195158"/>
            </a:xfrm>
            <a:prstGeom prst="rect">
              <a:avLst/>
            </a:prstGeom>
          </p:spPr>
        </p:pic>
        <p:pic>
          <p:nvPicPr>
            <p:cNvPr id="288" name="Рисунок 287">
              <a:extLst>
                <a:ext uri="{FF2B5EF4-FFF2-40B4-BE49-F238E27FC236}">
                  <a16:creationId xmlns:a16="http://schemas.microsoft.com/office/drawing/2014/main" id="{1CBBEEAE-C32D-4C15-8AFA-70898F9826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9833" y="615178"/>
              <a:ext cx="191639" cy="195158"/>
            </a:xfrm>
            <a:prstGeom prst="rect">
              <a:avLst/>
            </a:prstGeom>
          </p:spPr>
        </p:pic>
      </p:grpSp>
      <p:sp>
        <p:nvSpPr>
          <p:cNvPr id="308" name="TextBox 307"/>
          <p:cNvSpPr txBox="1"/>
          <p:nvPr/>
        </p:nvSpPr>
        <p:spPr>
          <a:xfrm>
            <a:off x="6266977" y="1023010"/>
            <a:ext cx="5725573" cy="1413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:</a:t>
            </a:r>
          </a:p>
          <a:p>
            <a:pPr fontAlgn="base">
              <a:spcBef>
                <a:spcPts val="100"/>
              </a:spcBef>
            </a:pPr>
            <a:r>
              <a:rPr lang="ru-RU" sz="1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олучение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зимнего дизельного топлива с температурой помутнения минус 28℃</a:t>
            </a:r>
            <a:endParaRPr lang="ru-RU" sz="10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 ОСНОВНЫХ ЭТАПОВ:</a:t>
            </a: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019-2025</a:t>
            </a:r>
            <a:endParaRPr lang="ru-RU" sz="10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ОДИТЕЛЬНОСТЬ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СТАНОВКИ:</a:t>
            </a:r>
          </a:p>
          <a:p>
            <a:pPr>
              <a:spcBef>
                <a:spcPts val="100"/>
              </a:spcBef>
              <a:defRPr/>
            </a:pPr>
            <a:r>
              <a:rPr lang="ru-RU" sz="1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60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тыс. тонн в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год ДТЗ</a:t>
            </a:r>
            <a:endParaRPr lang="ru-RU" sz="10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altLang="ru-RU" sz="10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ЕНЕРАЛЬНЫЙ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ЕРС-ПОДРЯДЧИК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На стадии определение (тендер)</a:t>
            </a:r>
            <a:endParaRPr lang="ru-RU" sz="1000" b="1" dirty="0">
              <a:latin typeface="Century Gothic" panose="020B0502020202020204" pitchFamily="34" charset="0"/>
              <a:ea typeface="Times New Roman" pitchFamily="18" charset="0"/>
              <a:cs typeface="Arial" panose="020B0604020202020204" pitchFamily="34" charset="0"/>
            </a:endParaRPr>
          </a:p>
        </p:txBody>
      </p:sp>
      <p:pic>
        <p:nvPicPr>
          <p:cNvPr id="167" name="Рисунок 16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97086" y="4545132"/>
            <a:ext cx="5746634" cy="2077634"/>
          </a:xfrm>
          <a:prstGeom prst="rect">
            <a:avLst/>
          </a:prstGeom>
          <a:ln w="9525">
            <a:noFill/>
          </a:ln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5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4" name="Группа 63"/>
          <p:cNvGrpSpPr/>
          <p:nvPr/>
        </p:nvGrpSpPr>
        <p:grpSpPr>
          <a:xfrm>
            <a:off x="6008924" y="1058231"/>
            <a:ext cx="331663" cy="1263717"/>
            <a:chOff x="112065" y="982089"/>
            <a:chExt cx="331663" cy="1216789"/>
          </a:xfrm>
        </p:grpSpPr>
        <p:grpSp>
          <p:nvGrpSpPr>
            <p:cNvPr id="65" name="Группа 64"/>
            <p:cNvGrpSpPr/>
            <p:nvPr/>
          </p:nvGrpSpPr>
          <p:grpSpPr>
            <a:xfrm>
              <a:off x="114355" y="982089"/>
              <a:ext cx="320199" cy="265150"/>
              <a:chOff x="136051" y="1391752"/>
              <a:chExt cx="419286" cy="434523"/>
            </a:xfrm>
          </p:grpSpPr>
          <p:sp>
            <p:nvSpPr>
              <p:cNvPr id="77" name="Овал 76">
                <a:extLst>
                  <a:ext uri="{FF2B5EF4-FFF2-40B4-BE49-F238E27FC236}">
                    <a16:creationId xmlns:a16="http://schemas.microsoft.com/office/drawing/2014/main" id="{65254C21-239F-EE3D-D336-8D2B4C9077D5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136051" y="1391752"/>
                <a:ext cx="419286" cy="434523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78" name="Freeform 99"/>
              <p:cNvSpPr>
                <a:spLocks noEditPoints="1"/>
              </p:cNvSpPr>
              <p:nvPr/>
            </p:nvSpPr>
            <p:spPr bwMode="auto">
              <a:xfrm>
                <a:off x="199092" y="1465786"/>
                <a:ext cx="292599" cy="293167"/>
              </a:xfrm>
              <a:custGeom>
                <a:avLst/>
                <a:gdLst>
                  <a:gd name="T0" fmla="*/ 0 w 714"/>
                  <a:gd name="T1" fmla="*/ 357 h 715"/>
                  <a:gd name="T2" fmla="*/ 714 w 714"/>
                  <a:gd name="T3" fmla="*/ 357 h 715"/>
                  <a:gd name="T4" fmla="*/ 357 w 714"/>
                  <a:gd name="T5" fmla="*/ 14 h 715"/>
                  <a:gd name="T6" fmla="*/ 357 w 714"/>
                  <a:gd name="T7" fmla="*/ 701 h 715"/>
                  <a:gd name="T8" fmla="*/ 357 w 714"/>
                  <a:gd name="T9" fmla="*/ 14 h 715"/>
                  <a:gd name="T10" fmla="*/ 272 w 714"/>
                  <a:gd name="T11" fmla="*/ 358 h 715"/>
                  <a:gd name="T12" fmla="*/ 442 w 714"/>
                  <a:gd name="T13" fmla="*/ 358 h 715"/>
                  <a:gd name="T14" fmla="*/ 357 w 714"/>
                  <a:gd name="T15" fmla="*/ 287 h 715"/>
                  <a:gd name="T16" fmla="*/ 357 w 714"/>
                  <a:gd name="T17" fmla="*/ 428 h 715"/>
                  <a:gd name="T18" fmla="*/ 357 w 714"/>
                  <a:gd name="T19" fmla="*/ 287 h 715"/>
                  <a:gd name="T20" fmla="*/ 364 w 714"/>
                  <a:gd name="T21" fmla="*/ 7 h 715"/>
                  <a:gd name="T22" fmla="*/ 350 w 714"/>
                  <a:gd name="T23" fmla="*/ 7 h 715"/>
                  <a:gd name="T24" fmla="*/ 357 w 714"/>
                  <a:gd name="T25" fmla="*/ 111 h 715"/>
                  <a:gd name="T26" fmla="*/ 364 w 714"/>
                  <a:gd name="T27" fmla="*/ 708 h 715"/>
                  <a:gd name="T28" fmla="*/ 357 w 714"/>
                  <a:gd name="T29" fmla="*/ 604 h 715"/>
                  <a:gd name="T30" fmla="*/ 350 w 714"/>
                  <a:gd name="T31" fmla="*/ 708 h 715"/>
                  <a:gd name="T32" fmla="*/ 364 w 714"/>
                  <a:gd name="T33" fmla="*/ 708 h 715"/>
                  <a:gd name="T34" fmla="*/ 707 w 714"/>
                  <a:gd name="T35" fmla="*/ 351 h 715"/>
                  <a:gd name="T36" fmla="*/ 603 w 714"/>
                  <a:gd name="T37" fmla="*/ 358 h 715"/>
                  <a:gd name="T38" fmla="*/ 707 w 714"/>
                  <a:gd name="T39" fmla="*/ 365 h 715"/>
                  <a:gd name="T40" fmla="*/ 111 w 714"/>
                  <a:gd name="T41" fmla="*/ 358 h 715"/>
                  <a:gd name="T42" fmla="*/ 7 w 714"/>
                  <a:gd name="T43" fmla="*/ 351 h 715"/>
                  <a:gd name="T44" fmla="*/ 7 w 714"/>
                  <a:gd name="T45" fmla="*/ 365 h 715"/>
                  <a:gd name="T46" fmla="*/ 111 w 714"/>
                  <a:gd name="T47" fmla="*/ 358 h 715"/>
                  <a:gd name="T48" fmla="*/ 364 w 714"/>
                  <a:gd name="T49" fmla="*/ 249 h 715"/>
                  <a:gd name="T50" fmla="*/ 350 w 714"/>
                  <a:gd name="T51" fmla="*/ 249 h 715"/>
                  <a:gd name="T52" fmla="*/ 357 w 714"/>
                  <a:gd name="T53" fmla="*/ 286 h 715"/>
                  <a:gd name="T54" fmla="*/ 364 w 714"/>
                  <a:gd name="T55" fmla="*/ 466 h 715"/>
                  <a:gd name="T56" fmla="*/ 357 w 714"/>
                  <a:gd name="T57" fmla="*/ 429 h 715"/>
                  <a:gd name="T58" fmla="*/ 350 w 714"/>
                  <a:gd name="T59" fmla="*/ 466 h 715"/>
                  <a:gd name="T60" fmla="*/ 364 w 714"/>
                  <a:gd name="T61" fmla="*/ 466 h 715"/>
                  <a:gd name="T62" fmla="*/ 466 w 714"/>
                  <a:gd name="T63" fmla="*/ 351 h 715"/>
                  <a:gd name="T64" fmla="*/ 429 w 714"/>
                  <a:gd name="T65" fmla="*/ 358 h 715"/>
                  <a:gd name="T66" fmla="*/ 466 w 714"/>
                  <a:gd name="T67" fmla="*/ 365 h 715"/>
                  <a:gd name="T68" fmla="*/ 286 w 714"/>
                  <a:gd name="T69" fmla="*/ 358 h 715"/>
                  <a:gd name="T70" fmla="*/ 249 w 714"/>
                  <a:gd name="T71" fmla="*/ 351 h 715"/>
                  <a:gd name="T72" fmla="*/ 249 w 714"/>
                  <a:gd name="T73" fmla="*/ 365 h 715"/>
                  <a:gd name="T74" fmla="*/ 286 w 714"/>
                  <a:gd name="T75" fmla="*/ 358 h 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4" h="715">
                    <a:moveTo>
                      <a:pt x="357" y="715"/>
                    </a:moveTo>
                    <a:cubicBezTo>
                      <a:pt x="160" y="715"/>
                      <a:pt x="0" y="554"/>
                      <a:pt x="0" y="357"/>
                    </a:cubicBezTo>
                    <a:cubicBezTo>
                      <a:pt x="0" y="161"/>
                      <a:pt x="160" y="0"/>
                      <a:pt x="357" y="0"/>
                    </a:cubicBezTo>
                    <a:cubicBezTo>
                      <a:pt x="554" y="0"/>
                      <a:pt x="714" y="161"/>
                      <a:pt x="714" y="357"/>
                    </a:cubicBezTo>
                    <a:cubicBezTo>
                      <a:pt x="714" y="554"/>
                      <a:pt x="554" y="715"/>
                      <a:pt x="357" y="715"/>
                    </a:cubicBezTo>
                    <a:close/>
                    <a:moveTo>
                      <a:pt x="357" y="14"/>
                    </a:moveTo>
                    <a:cubicBezTo>
                      <a:pt x="168" y="14"/>
                      <a:pt x="14" y="168"/>
                      <a:pt x="14" y="357"/>
                    </a:cubicBezTo>
                    <a:cubicBezTo>
                      <a:pt x="14" y="547"/>
                      <a:pt x="168" y="701"/>
                      <a:pt x="357" y="701"/>
                    </a:cubicBezTo>
                    <a:cubicBezTo>
                      <a:pt x="546" y="701"/>
                      <a:pt x="700" y="547"/>
                      <a:pt x="700" y="357"/>
                    </a:cubicBezTo>
                    <a:cubicBezTo>
                      <a:pt x="700" y="168"/>
                      <a:pt x="546" y="14"/>
                      <a:pt x="357" y="14"/>
                    </a:cubicBezTo>
                    <a:close/>
                    <a:moveTo>
                      <a:pt x="357" y="442"/>
                    </a:moveTo>
                    <a:cubicBezTo>
                      <a:pt x="310" y="442"/>
                      <a:pt x="272" y="404"/>
                      <a:pt x="272" y="358"/>
                    </a:cubicBezTo>
                    <a:cubicBezTo>
                      <a:pt x="272" y="311"/>
                      <a:pt x="310" y="273"/>
                      <a:pt x="357" y="273"/>
                    </a:cubicBezTo>
                    <a:cubicBezTo>
                      <a:pt x="404" y="273"/>
                      <a:pt x="442" y="311"/>
                      <a:pt x="442" y="358"/>
                    </a:cubicBezTo>
                    <a:cubicBezTo>
                      <a:pt x="442" y="404"/>
                      <a:pt x="404" y="442"/>
                      <a:pt x="357" y="442"/>
                    </a:cubicBezTo>
                    <a:close/>
                    <a:moveTo>
                      <a:pt x="357" y="287"/>
                    </a:moveTo>
                    <a:cubicBezTo>
                      <a:pt x="318" y="287"/>
                      <a:pt x="286" y="318"/>
                      <a:pt x="286" y="358"/>
                    </a:cubicBezTo>
                    <a:cubicBezTo>
                      <a:pt x="286" y="397"/>
                      <a:pt x="318" y="428"/>
                      <a:pt x="357" y="428"/>
                    </a:cubicBezTo>
                    <a:cubicBezTo>
                      <a:pt x="396" y="428"/>
                      <a:pt x="428" y="397"/>
                      <a:pt x="428" y="358"/>
                    </a:cubicBezTo>
                    <a:cubicBezTo>
                      <a:pt x="428" y="318"/>
                      <a:pt x="396" y="287"/>
                      <a:pt x="357" y="287"/>
                    </a:cubicBezTo>
                    <a:close/>
                    <a:moveTo>
                      <a:pt x="364" y="104"/>
                    </a:moveTo>
                    <a:cubicBezTo>
                      <a:pt x="364" y="7"/>
                      <a:pt x="364" y="7"/>
                      <a:pt x="364" y="7"/>
                    </a:cubicBezTo>
                    <a:cubicBezTo>
                      <a:pt x="364" y="4"/>
                      <a:pt x="361" y="0"/>
                      <a:pt x="357" y="0"/>
                    </a:cubicBezTo>
                    <a:cubicBezTo>
                      <a:pt x="353" y="0"/>
                      <a:pt x="350" y="4"/>
                      <a:pt x="350" y="7"/>
                    </a:cubicBezTo>
                    <a:cubicBezTo>
                      <a:pt x="350" y="104"/>
                      <a:pt x="350" y="104"/>
                      <a:pt x="350" y="104"/>
                    </a:cubicBezTo>
                    <a:cubicBezTo>
                      <a:pt x="350" y="108"/>
                      <a:pt x="353" y="111"/>
                      <a:pt x="357" y="111"/>
                    </a:cubicBezTo>
                    <a:cubicBezTo>
                      <a:pt x="361" y="111"/>
                      <a:pt x="364" y="108"/>
                      <a:pt x="364" y="104"/>
                    </a:cubicBezTo>
                    <a:close/>
                    <a:moveTo>
                      <a:pt x="364" y="708"/>
                    </a:moveTo>
                    <a:cubicBezTo>
                      <a:pt x="364" y="611"/>
                      <a:pt x="364" y="611"/>
                      <a:pt x="364" y="611"/>
                    </a:cubicBezTo>
                    <a:cubicBezTo>
                      <a:pt x="364" y="607"/>
                      <a:pt x="361" y="604"/>
                      <a:pt x="357" y="604"/>
                    </a:cubicBezTo>
                    <a:cubicBezTo>
                      <a:pt x="353" y="604"/>
                      <a:pt x="350" y="607"/>
                      <a:pt x="350" y="611"/>
                    </a:cubicBezTo>
                    <a:cubicBezTo>
                      <a:pt x="350" y="708"/>
                      <a:pt x="350" y="708"/>
                      <a:pt x="350" y="708"/>
                    </a:cubicBezTo>
                    <a:cubicBezTo>
                      <a:pt x="350" y="711"/>
                      <a:pt x="353" y="715"/>
                      <a:pt x="357" y="715"/>
                    </a:cubicBezTo>
                    <a:cubicBezTo>
                      <a:pt x="361" y="715"/>
                      <a:pt x="364" y="711"/>
                      <a:pt x="364" y="708"/>
                    </a:cubicBezTo>
                    <a:close/>
                    <a:moveTo>
                      <a:pt x="714" y="358"/>
                    </a:moveTo>
                    <a:cubicBezTo>
                      <a:pt x="714" y="354"/>
                      <a:pt x="711" y="351"/>
                      <a:pt x="707" y="351"/>
                    </a:cubicBezTo>
                    <a:cubicBezTo>
                      <a:pt x="610" y="351"/>
                      <a:pt x="610" y="351"/>
                      <a:pt x="610" y="351"/>
                    </a:cubicBezTo>
                    <a:cubicBezTo>
                      <a:pt x="606" y="351"/>
                      <a:pt x="603" y="354"/>
                      <a:pt x="603" y="358"/>
                    </a:cubicBezTo>
                    <a:cubicBezTo>
                      <a:pt x="603" y="361"/>
                      <a:pt x="606" y="365"/>
                      <a:pt x="610" y="365"/>
                    </a:cubicBezTo>
                    <a:cubicBezTo>
                      <a:pt x="707" y="365"/>
                      <a:pt x="707" y="365"/>
                      <a:pt x="707" y="365"/>
                    </a:cubicBezTo>
                    <a:cubicBezTo>
                      <a:pt x="711" y="365"/>
                      <a:pt x="714" y="361"/>
                      <a:pt x="714" y="358"/>
                    </a:cubicBezTo>
                    <a:close/>
                    <a:moveTo>
                      <a:pt x="111" y="358"/>
                    </a:moveTo>
                    <a:cubicBezTo>
                      <a:pt x="111" y="354"/>
                      <a:pt x="108" y="351"/>
                      <a:pt x="104" y="351"/>
                    </a:cubicBezTo>
                    <a:cubicBezTo>
                      <a:pt x="7" y="351"/>
                      <a:pt x="7" y="351"/>
                      <a:pt x="7" y="351"/>
                    </a:cubicBezTo>
                    <a:cubicBezTo>
                      <a:pt x="3" y="351"/>
                      <a:pt x="0" y="354"/>
                      <a:pt x="0" y="358"/>
                    </a:cubicBezTo>
                    <a:cubicBezTo>
                      <a:pt x="0" y="361"/>
                      <a:pt x="3" y="365"/>
                      <a:pt x="7" y="365"/>
                    </a:cubicBezTo>
                    <a:cubicBezTo>
                      <a:pt x="104" y="365"/>
                      <a:pt x="104" y="365"/>
                      <a:pt x="104" y="365"/>
                    </a:cubicBezTo>
                    <a:cubicBezTo>
                      <a:pt x="108" y="365"/>
                      <a:pt x="111" y="361"/>
                      <a:pt x="111" y="358"/>
                    </a:cubicBezTo>
                    <a:close/>
                    <a:moveTo>
                      <a:pt x="364" y="279"/>
                    </a:moveTo>
                    <a:cubicBezTo>
                      <a:pt x="364" y="249"/>
                      <a:pt x="364" y="249"/>
                      <a:pt x="364" y="249"/>
                    </a:cubicBezTo>
                    <a:cubicBezTo>
                      <a:pt x="364" y="245"/>
                      <a:pt x="361" y="242"/>
                      <a:pt x="357" y="242"/>
                    </a:cubicBezTo>
                    <a:cubicBezTo>
                      <a:pt x="353" y="242"/>
                      <a:pt x="350" y="245"/>
                      <a:pt x="350" y="249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350" y="283"/>
                      <a:pt x="353" y="286"/>
                      <a:pt x="357" y="286"/>
                    </a:cubicBezTo>
                    <a:cubicBezTo>
                      <a:pt x="361" y="286"/>
                      <a:pt x="364" y="283"/>
                      <a:pt x="364" y="279"/>
                    </a:cubicBezTo>
                    <a:close/>
                    <a:moveTo>
                      <a:pt x="364" y="466"/>
                    </a:moveTo>
                    <a:cubicBezTo>
                      <a:pt x="364" y="436"/>
                      <a:pt x="364" y="436"/>
                      <a:pt x="364" y="436"/>
                    </a:cubicBezTo>
                    <a:cubicBezTo>
                      <a:pt x="364" y="432"/>
                      <a:pt x="361" y="429"/>
                      <a:pt x="357" y="429"/>
                    </a:cubicBezTo>
                    <a:cubicBezTo>
                      <a:pt x="353" y="429"/>
                      <a:pt x="350" y="432"/>
                      <a:pt x="350" y="436"/>
                    </a:cubicBezTo>
                    <a:cubicBezTo>
                      <a:pt x="350" y="466"/>
                      <a:pt x="350" y="466"/>
                      <a:pt x="350" y="466"/>
                    </a:cubicBezTo>
                    <a:cubicBezTo>
                      <a:pt x="350" y="470"/>
                      <a:pt x="353" y="473"/>
                      <a:pt x="357" y="473"/>
                    </a:cubicBezTo>
                    <a:cubicBezTo>
                      <a:pt x="361" y="473"/>
                      <a:pt x="364" y="470"/>
                      <a:pt x="364" y="466"/>
                    </a:cubicBezTo>
                    <a:close/>
                    <a:moveTo>
                      <a:pt x="473" y="358"/>
                    </a:moveTo>
                    <a:cubicBezTo>
                      <a:pt x="473" y="354"/>
                      <a:pt x="470" y="351"/>
                      <a:pt x="466" y="351"/>
                    </a:cubicBezTo>
                    <a:cubicBezTo>
                      <a:pt x="436" y="351"/>
                      <a:pt x="436" y="351"/>
                      <a:pt x="436" y="351"/>
                    </a:cubicBezTo>
                    <a:cubicBezTo>
                      <a:pt x="432" y="351"/>
                      <a:pt x="429" y="354"/>
                      <a:pt x="429" y="358"/>
                    </a:cubicBezTo>
                    <a:cubicBezTo>
                      <a:pt x="429" y="361"/>
                      <a:pt x="432" y="365"/>
                      <a:pt x="436" y="365"/>
                    </a:cubicBezTo>
                    <a:cubicBezTo>
                      <a:pt x="466" y="365"/>
                      <a:pt x="466" y="365"/>
                      <a:pt x="466" y="365"/>
                    </a:cubicBezTo>
                    <a:cubicBezTo>
                      <a:pt x="470" y="365"/>
                      <a:pt x="473" y="361"/>
                      <a:pt x="473" y="358"/>
                    </a:cubicBezTo>
                    <a:close/>
                    <a:moveTo>
                      <a:pt x="286" y="358"/>
                    </a:moveTo>
                    <a:cubicBezTo>
                      <a:pt x="286" y="354"/>
                      <a:pt x="282" y="351"/>
                      <a:pt x="279" y="351"/>
                    </a:cubicBezTo>
                    <a:cubicBezTo>
                      <a:pt x="249" y="351"/>
                      <a:pt x="249" y="351"/>
                      <a:pt x="249" y="351"/>
                    </a:cubicBezTo>
                    <a:cubicBezTo>
                      <a:pt x="245" y="351"/>
                      <a:pt x="242" y="354"/>
                      <a:pt x="242" y="358"/>
                    </a:cubicBezTo>
                    <a:cubicBezTo>
                      <a:pt x="242" y="361"/>
                      <a:pt x="245" y="365"/>
                      <a:pt x="249" y="365"/>
                    </a:cubicBezTo>
                    <a:cubicBezTo>
                      <a:pt x="279" y="365"/>
                      <a:pt x="279" y="365"/>
                      <a:pt x="279" y="365"/>
                    </a:cubicBezTo>
                    <a:cubicBezTo>
                      <a:pt x="282" y="365"/>
                      <a:pt x="286" y="361"/>
                      <a:pt x="286" y="35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12065" y="1298889"/>
              <a:ext cx="320197" cy="26515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grpSp>
          <p:nvGrpSpPr>
            <p:cNvPr id="68" name="Группа 67"/>
            <p:cNvGrpSpPr/>
            <p:nvPr/>
          </p:nvGrpSpPr>
          <p:grpSpPr>
            <a:xfrm>
              <a:off x="112066" y="1338896"/>
              <a:ext cx="320197" cy="547810"/>
              <a:chOff x="54053" y="1014778"/>
              <a:chExt cx="253615" cy="520642"/>
            </a:xfrm>
          </p:grpSpPr>
          <p:sp>
            <p:nvSpPr>
              <p:cNvPr id="75" name="Овал 74">
                <a:extLst>
                  <a:ext uri="{FF2B5EF4-FFF2-40B4-BE49-F238E27FC236}">
                    <a16:creationId xmlns:a16="http://schemas.microsoft.com/office/drawing/2014/main" id="{65254C21-239F-EE3D-D336-8D2B4C9077D5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54053" y="1283420"/>
                <a:ext cx="253615" cy="252000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76" name="Freeform 98"/>
              <p:cNvSpPr>
                <a:spLocks noEditPoints="1"/>
              </p:cNvSpPr>
              <p:nvPr/>
            </p:nvSpPr>
            <p:spPr bwMode="auto">
              <a:xfrm>
                <a:off x="86898" y="1014778"/>
                <a:ext cx="180000" cy="180000"/>
              </a:xfrm>
              <a:custGeom>
                <a:avLst/>
                <a:gdLst>
                  <a:gd name="T0" fmla="*/ 486 w 714"/>
                  <a:gd name="T1" fmla="*/ 214 h 715"/>
                  <a:gd name="T2" fmla="*/ 375 w 714"/>
                  <a:gd name="T3" fmla="*/ 329 h 715"/>
                  <a:gd name="T4" fmla="*/ 357 w 714"/>
                  <a:gd name="T5" fmla="*/ 324 h 715"/>
                  <a:gd name="T6" fmla="*/ 342 w 714"/>
                  <a:gd name="T7" fmla="*/ 327 h 715"/>
                  <a:gd name="T8" fmla="*/ 183 w 714"/>
                  <a:gd name="T9" fmla="*/ 124 h 715"/>
                  <a:gd name="T10" fmla="*/ 173 w 714"/>
                  <a:gd name="T11" fmla="*/ 123 h 715"/>
                  <a:gd name="T12" fmla="*/ 172 w 714"/>
                  <a:gd name="T13" fmla="*/ 133 h 715"/>
                  <a:gd name="T14" fmla="*/ 331 w 714"/>
                  <a:gd name="T15" fmla="*/ 336 h 715"/>
                  <a:gd name="T16" fmla="*/ 323 w 714"/>
                  <a:gd name="T17" fmla="*/ 358 h 715"/>
                  <a:gd name="T18" fmla="*/ 357 w 714"/>
                  <a:gd name="T19" fmla="*/ 391 h 715"/>
                  <a:gd name="T20" fmla="*/ 390 w 714"/>
                  <a:gd name="T21" fmla="*/ 358 h 715"/>
                  <a:gd name="T22" fmla="*/ 385 w 714"/>
                  <a:gd name="T23" fmla="*/ 339 h 715"/>
                  <a:gd name="T24" fmla="*/ 496 w 714"/>
                  <a:gd name="T25" fmla="*/ 223 h 715"/>
                  <a:gd name="T26" fmla="*/ 496 w 714"/>
                  <a:gd name="T27" fmla="*/ 213 h 715"/>
                  <a:gd name="T28" fmla="*/ 486 w 714"/>
                  <a:gd name="T29" fmla="*/ 214 h 715"/>
                  <a:gd name="T30" fmla="*/ 357 w 714"/>
                  <a:gd name="T31" fmla="*/ 377 h 715"/>
                  <a:gd name="T32" fmla="*/ 337 w 714"/>
                  <a:gd name="T33" fmla="*/ 358 h 715"/>
                  <a:gd name="T34" fmla="*/ 357 w 714"/>
                  <a:gd name="T35" fmla="*/ 338 h 715"/>
                  <a:gd name="T36" fmla="*/ 376 w 714"/>
                  <a:gd name="T37" fmla="*/ 358 h 715"/>
                  <a:gd name="T38" fmla="*/ 357 w 714"/>
                  <a:gd name="T39" fmla="*/ 377 h 715"/>
                  <a:gd name="T40" fmla="*/ 714 w 714"/>
                  <a:gd name="T41" fmla="*/ 358 h 715"/>
                  <a:gd name="T42" fmla="*/ 714 w 714"/>
                  <a:gd name="T43" fmla="*/ 358 h 715"/>
                  <a:gd name="T44" fmla="*/ 357 w 714"/>
                  <a:gd name="T45" fmla="*/ 0 h 715"/>
                  <a:gd name="T46" fmla="*/ 357 w 714"/>
                  <a:gd name="T47" fmla="*/ 0 h 715"/>
                  <a:gd name="T48" fmla="*/ 357 w 714"/>
                  <a:gd name="T49" fmla="*/ 0 h 715"/>
                  <a:gd name="T50" fmla="*/ 357 w 714"/>
                  <a:gd name="T51" fmla="*/ 0 h 715"/>
                  <a:gd name="T52" fmla="*/ 0 w 714"/>
                  <a:gd name="T53" fmla="*/ 358 h 715"/>
                  <a:gd name="T54" fmla="*/ 0 w 714"/>
                  <a:gd name="T55" fmla="*/ 358 h 715"/>
                  <a:gd name="T56" fmla="*/ 0 w 714"/>
                  <a:gd name="T57" fmla="*/ 358 h 715"/>
                  <a:gd name="T58" fmla="*/ 0 w 714"/>
                  <a:gd name="T59" fmla="*/ 358 h 715"/>
                  <a:gd name="T60" fmla="*/ 357 w 714"/>
                  <a:gd name="T61" fmla="*/ 715 h 715"/>
                  <a:gd name="T62" fmla="*/ 357 w 714"/>
                  <a:gd name="T63" fmla="*/ 715 h 715"/>
                  <a:gd name="T64" fmla="*/ 357 w 714"/>
                  <a:gd name="T65" fmla="*/ 715 h 715"/>
                  <a:gd name="T66" fmla="*/ 357 w 714"/>
                  <a:gd name="T67" fmla="*/ 715 h 715"/>
                  <a:gd name="T68" fmla="*/ 714 w 714"/>
                  <a:gd name="T69" fmla="*/ 358 h 715"/>
                  <a:gd name="T70" fmla="*/ 714 w 714"/>
                  <a:gd name="T71" fmla="*/ 358 h 715"/>
                  <a:gd name="T72" fmla="*/ 364 w 714"/>
                  <a:gd name="T73" fmla="*/ 700 h 715"/>
                  <a:gd name="T74" fmla="*/ 364 w 714"/>
                  <a:gd name="T75" fmla="*/ 662 h 715"/>
                  <a:gd name="T76" fmla="*/ 357 w 714"/>
                  <a:gd name="T77" fmla="*/ 655 h 715"/>
                  <a:gd name="T78" fmla="*/ 350 w 714"/>
                  <a:gd name="T79" fmla="*/ 662 h 715"/>
                  <a:gd name="T80" fmla="*/ 350 w 714"/>
                  <a:gd name="T81" fmla="*/ 700 h 715"/>
                  <a:gd name="T82" fmla="*/ 14 w 714"/>
                  <a:gd name="T83" fmla="*/ 365 h 715"/>
                  <a:gd name="T84" fmla="*/ 52 w 714"/>
                  <a:gd name="T85" fmla="*/ 365 h 715"/>
                  <a:gd name="T86" fmla="*/ 59 w 714"/>
                  <a:gd name="T87" fmla="*/ 358 h 715"/>
                  <a:gd name="T88" fmla="*/ 52 w 714"/>
                  <a:gd name="T89" fmla="*/ 351 h 715"/>
                  <a:gd name="T90" fmla="*/ 14 w 714"/>
                  <a:gd name="T91" fmla="*/ 351 h 715"/>
                  <a:gd name="T92" fmla="*/ 350 w 714"/>
                  <a:gd name="T93" fmla="*/ 15 h 715"/>
                  <a:gd name="T94" fmla="*/ 350 w 714"/>
                  <a:gd name="T95" fmla="*/ 53 h 715"/>
                  <a:gd name="T96" fmla="*/ 357 w 714"/>
                  <a:gd name="T97" fmla="*/ 60 h 715"/>
                  <a:gd name="T98" fmla="*/ 364 w 714"/>
                  <a:gd name="T99" fmla="*/ 53 h 715"/>
                  <a:gd name="T100" fmla="*/ 364 w 714"/>
                  <a:gd name="T101" fmla="*/ 15 h 715"/>
                  <a:gd name="T102" fmla="*/ 699 w 714"/>
                  <a:gd name="T103" fmla="*/ 351 h 715"/>
                  <a:gd name="T104" fmla="*/ 661 w 714"/>
                  <a:gd name="T105" fmla="*/ 351 h 715"/>
                  <a:gd name="T106" fmla="*/ 654 w 714"/>
                  <a:gd name="T107" fmla="*/ 358 h 715"/>
                  <a:gd name="T108" fmla="*/ 661 w 714"/>
                  <a:gd name="T109" fmla="*/ 365 h 715"/>
                  <a:gd name="T110" fmla="*/ 699 w 714"/>
                  <a:gd name="T111" fmla="*/ 365 h 715"/>
                  <a:gd name="T112" fmla="*/ 364 w 714"/>
                  <a:gd name="T113" fmla="*/ 700 h 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14" h="715">
                    <a:moveTo>
                      <a:pt x="486" y="214"/>
                    </a:moveTo>
                    <a:cubicBezTo>
                      <a:pt x="375" y="329"/>
                      <a:pt x="375" y="329"/>
                      <a:pt x="375" y="329"/>
                    </a:cubicBezTo>
                    <a:cubicBezTo>
                      <a:pt x="369" y="326"/>
                      <a:pt x="363" y="324"/>
                      <a:pt x="357" y="324"/>
                    </a:cubicBezTo>
                    <a:cubicBezTo>
                      <a:pt x="351" y="324"/>
                      <a:pt x="346" y="325"/>
                      <a:pt x="342" y="327"/>
                    </a:cubicBezTo>
                    <a:cubicBezTo>
                      <a:pt x="183" y="124"/>
                      <a:pt x="183" y="124"/>
                      <a:pt x="183" y="124"/>
                    </a:cubicBezTo>
                    <a:cubicBezTo>
                      <a:pt x="180" y="121"/>
                      <a:pt x="176" y="121"/>
                      <a:pt x="173" y="123"/>
                    </a:cubicBezTo>
                    <a:cubicBezTo>
                      <a:pt x="170" y="126"/>
                      <a:pt x="169" y="130"/>
                      <a:pt x="172" y="133"/>
                    </a:cubicBezTo>
                    <a:cubicBezTo>
                      <a:pt x="331" y="336"/>
                      <a:pt x="331" y="336"/>
                      <a:pt x="331" y="336"/>
                    </a:cubicBezTo>
                    <a:cubicBezTo>
                      <a:pt x="326" y="342"/>
                      <a:pt x="323" y="349"/>
                      <a:pt x="323" y="358"/>
                    </a:cubicBezTo>
                    <a:cubicBezTo>
                      <a:pt x="323" y="376"/>
                      <a:pt x="338" y="391"/>
                      <a:pt x="357" y="391"/>
                    </a:cubicBezTo>
                    <a:cubicBezTo>
                      <a:pt x="375" y="391"/>
                      <a:pt x="390" y="376"/>
                      <a:pt x="390" y="358"/>
                    </a:cubicBezTo>
                    <a:cubicBezTo>
                      <a:pt x="390" y="351"/>
                      <a:pt x="388" y="344"/>
                      <a:pt x="385" y="339"/>
                    </a:cubicBezTo>
                    <a:cubicBezTo>
                      <a:pt x="496" y="223"/>
                      <a:pt x="496" y="223"/>
                      <a:pt x="496" y="223"/>
                    </a:cubicBezTo>
                    <a:cubicBezTo>
                      <a:pt x="499" y="220"/>
                      <a:pt x="499" y="216"/>
                      <a:pt x="496" y="213"/>
                    </a:cubicBezTo>
                    <a:cubicBezTo>
                      <a:pt x="493" y="211"/>
                      <a:pt x="489" y="211"/>
                      <a:pt x="486" y="214"/>
                    </a:cubicBezTo>
                    <a:close/>
                    <a:moveTo>
                      <a:pt x="357" y="377"/>
                    </a:moveTo>
                    <a:cubicBezTo>
                      <a:pt x="346" y="377"/>
                      <a:pt x="337" y="368"/>
                      <a:pt x="337" y="358"/>
                    </a:cubicBezTo>
                    <a:cubicBezTo>
                      <a:pt x="337" y="347"/>
                      <a:pt x="346" y="338"/>
                      <a:pt x="357" y="338"/>
                    </a:cubicBezTo>
                    <a:cubicBezTo>
                      <a:pt x="368" y="338"/>
                      <a:pt x="376" y="347"/>
                      <a:pt x="376" y="358"/>
                    </a:cubicBezTo>
                    <a:cubicBezTo>
                      <a:pt x="376" y="368"/>
                      <a:pt x="368" y="377"/>
                      <a:pt x="357" y="377"/>
                    </a:cubicBezTo>
                    <a:close/>
                    <a:moveTo>
                      <a:pt x="714" y="358"/>
                    </a:moveTo>
                    <a:cubicBezTo>
                      <a:pt x="714" y="358"/>
                      <a:pt x="714" y="358"/>
                      <a:pt x="714" y="358"/>
                    </a:cubicBezTo>
                    <a:cubicBezTo>
                      <a:pt x="714" y="161"/>
                      <a:pt x="553" y="0"/>
                      <a:pt x="357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357" y="0"/>
                      <a:pt x="357" y="0"/>
                      <a:pt x="357" y="0"/>
                    </a:cubicBezTo>
                    <a:cubicBezTo>
                      <a:pt x="160" y="0"/>
                      <a:pt x="0" y="161"/>
                      <a:pt x="0" y="358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554"/>
                      <a:pt x="160" y="715"/>
                      <a:pt x="357" y="715"/>
                    </a:cubicBezTo>
                    <a:cubicBezTo>
                      <a:pt x="357" y="715"/>
                      <a:pt x="357" y="715"/>
                      <a:pt x="357" y="715"/>
                    </a:cubicBezTo>
                    <a:cubicBezTo>
                      <a:pt x="357" y="715"/>
                      <a:pt x="357" y="715"/>
                      <a:pt x="357" y="715"/>
                    </a:cubicBezTo>
                    <a:cubicBezTo>
                      <a:pt x="357" y="715"/>
                      <a:pt x="357" y="715"/>
                      <a:pt x="357" y="715"/>
                    </a:cubicBezTo>
                    <a:cubicBezTo>
                      <a:pt x="553" y="715"/>
                      <a:pt x="714" y="554"/>
                      <a:pt x="714" y="358"/>
                    </a:cubicBezTo>
                    <a:cubicBezTo>
                      <a:pt x="714" y="358"/>
                      <a:pt x="714" y="358"/>
                      <a:pt x="714" y="358"/>
                    </a:cubicBezTo>
                    <a:close/>
                    <a:moveTo>
                      <a:pt x="364" y="700"/>
                    </a:moveTo>
                    <a:cubicBezTo>
                      <a:pt x="364" y="662"/>
                      <a:pt x="364" y="662"/>
                      <a:pt x="364" y="662"/>
                    </a:cubicBezTo>
                    <a:cubicBezTo>
                      <a:pt x="364" y="658"/>
                      <a:pt x="360" y="655"/>
                      <a:pt x="357" y="655"/>
                    </a:cubicBezTo>
                    <a:cubicBezTo>
                      <a:pt x="353" y="655"/>
                      <a:pt x="350" y="658"/>
                      <a:pt x="350" y="662"/>
                    </a:cubicBezTo>
                    <a:cubicBezTo>
                      <a:pt x="350" y="700"/>
                      <a:pt x="350" y="700"/>
                      <a:pt x="350" y="700"/>
                    </a:cubicBezTo>
                    <a:cubicBezTo>
                      <a:pt x="166" y="697"/>
                      <a:pt x="17" y="548"/>
                      <a:pt x="14" y="365"/>
                    </a:cubicBezTo>
                    <a:cubicBezTo>
                      <a:pt x="52" y="365"/>
                      <a:pt x="52" y="365"/>
                      <a:pt x="52" y="365"/>
                    </a:cubicBezTo>
                    <a:cubicBezTo>
                      <a:pt x="56" y="365"/>
                      <a:pt x="59" y="361"/>
                      <a:pt x="59" y="358"/>
                    </a:cubicBezTo>
                    <a:cubicBezTo>
                      <a:pt x="59" y="354"/>
                      <a:pt x="56" y="351"/>
                      <a:pt x="52" y="351"/>
                    </a:cubicBezTo>
                    <a:cubicBezTo>
                      <a:pt x="14" y="351"/>
                      <a:pt x="14" y="351"/>
                      <a:pt x="14" y="351"/>
                    </a:cubicBezTo>
                    <a:cubicBezTo>
                      <a:pt x="17" y="167"/>
                      <a:pt x="166" y="18"/>
                      <a:pt x="350" y="15"/>
                    </a:cubicBezTo>
                    <a:cubicBezTo>
                      <a:pt x="350" y="53"/>
                      <a:pt x="350" y="53"/>
                      <a:pt x="350" y="53"/>
                    </a:cubicBezTo>
                    <a:cubicBezTo>
                      <a:pt x="350" y="57"/>
                      <a:pt x="353" y="60"/>
                      <a:pt x="357" y="60"/>
                    </a:cubicBezTo>
                    <a:cubicBezTo>
                      <a:pt x="360" y="60"/>
                      <a:pt x="364" y="57"/>
                      <a:pt x="364" y="53"/>
                    </a:cubicBezTo>
                    <a:cubicBezTo>
                      <a:pt x="364" y="15"/>
                      <a:pt x="364" y="15"/>
                      <a:pt x="364" y="15"/>
                    </a:cubicBezTo>
                    <a:cubicBezTo>
                      <a:pt x="547" y="18"/>
                      <a:pt x="696" y="167"/>
                      <a:pt x="699" y="351"/>
                    </a:cubicBezTo>
                    <a:cubicBezTo>
                      <a:pt x="661" y="351"/>
                      <a:pt x="661" y="351"/>
                      <a:pt x="661" y="351"/>
                    </a:cubicBezTo>
                    <a:cubicBezTo>
                      <a:pt x="657" y="351"/>
                      <a:pt x="654" y="354"/>
                      <a:pt x="654" y="358"/>
                    </a:cubicBezTo>
                    <a:cubicBezTo>
                      <a:pt x="654" y="361"/>
                      <a:pt x="657" y="365"/>
                      <a:pt x="661" y="365"/>
                    </a:cubicBezTo>
                    <a:cubicBezTo>
                      <a:pt x="699" y="365"/>
                      <a:pt x="699" y="365"/>
                      <a:pt x="699" y="365"/>
                    </a:cubicBezTo>
                    <a:cubicBezTo>
                      <a:pt x="696" y="548"/>
                      <a:pt x="547" y="697"/>
                      <a:pt x="364" y="70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9" name="Группа 68"/>
            <p:cNvGrpSpPr/>
            <p:nvPr/>
          </p:nvGrpSpPr>
          <p:grpSpPr>
            <a:xfrm>
              <a:off x="123531" y="1655872"/>
              <a:ext cx="320197" cy="543006"/>
              <a:chOff x="67778" y="1369834"/>
              <a:chExt cx="253615" cy="516076"/>
            </a:xfrm>
          </p:grpSpPr>
          <p:sp>
            <p:nvSpPr>
              <p:cNvPr id="73" name="Овал 72">
                <a:extLst>
                  <a:ext uri="{FF2B5EF4-FFF2-40B4-BE49-F238E27FC236}">
                    <a16:creationId xmlns:a16="http://schemas.microsoft.com/office/drawing/2014/main" id="{65254C21-239F-EE3D-D336-8D2B4C9077D5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67778" y="1633910"/>
                <a:ext cx="253615" cy="252000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74" name="Freeform 123"/>
              <p:cNvSpPr>
                <a:spLocks noEditPoints="1"/>
              </p:cNvSpPr>
              <p:nvPr/>
            </p:nvSpPr>
            <p:spPr bwMode="auto">
              <a:xfrm>
                <a:off x="87893" y="1369834"/>
                <a:ext cx="177546" cy="166821"/>
              </a:xfrm>
              <a:custGeom>
                <a:avLst/>
                <a:gdLst>
                  <a:gd name="T0" fmla="*/ 529 w 676"/>
                  <a:gd name="T1" fmla="*/ 279 h 678"/>
                  <a:gd name="T2" fmla="*/ 431 w 676"/>
                  <a:gd name="T3" fmla="*/ 293 h 678"/>
                  <a:gd name="T4" fmla="*/ 409 w 676"/>
                  <a:gd name="T5" fmla="*/ 210 h 678"/>
                  <a:gd name="T6" fmla="*/ 367 w 676"/>
                  <a:gd name="T7" fmla="*/ 125 h 678"/>
                  <a:gd name="T8" fmla="*/ 401 w 676"/>
                  <a:gd name="T9" fmla="*/ 58 h 678"/>
                  <a:gd name="T10" fmla="*/ 504 w 676"/>
                  <a:gd name="T11" fmla="*/ 6 h 678"/>
                  <a:gd name="T12" fmla="*/ 579 w 676"/>
                  <a:gd name="T13" fmla="*/ 18 h 678"/>
                  <a:gd name="T14" fmla="*/ 659 w 676"/>
                  <a:gd name="T15" fmla="*/ 100 h 678"/>
                  <a:gd name="T16" fmla="*/ 676 w 676"/>
                  <a:gd name="T17" fmla="*/ 169 h 678"/>
                  <a:gd name="T18" fmla="*/ 605 w 676"/>
                  <a:gd name="T19" fmla="*/ 241 h 678"/>
                  <a:gd name="T20" fmla="*/ 558 w 676"/>
                  <a:gd name="T21" fmla="*/ 314 h 678"/>
                  <a:gd name="T22" fmla="*/ 539 w 676"/>
                  <a:gd name="T23" fmla="*/ 267 h 678"/>
                  <a:gd name="T24" fmla="*/ 590 w 676"/>
                  <a:gd name="T25" fmla="*/ 242 h 678"/>
                  <a:gd name="T26" fmla="*/ 626 w 676"/>
                  <a:gd name="T27" fmla="*/ 172 h 678"/>
                  <a:gd name="T28" fmla="*/ 655 w 676"/>
                  <a:gd name="T29" fmla="*/ 114 h 678"/>
                  <a:gd name="T30" fmla="*/ 566 w 676"/>
                  <a:gd name="T31" fmla="*/ 67 h 678"/>
                  <a:gd name="T32" fmla="*/ 517 w 676"/>
                  <a:gd name="T33" fmla="*/ 15 h 678"/>
                  <a:gd name="T34" fmla="*/ 500 w 676"/>
                  <a:gd name="T35" fmla="*/ 56 h 678"/>
                  <a:gd name="T36" fmla="*/ 401 w 676"/>
                  <a:gd name="T37" fmla="*/ 73 h 678"/>
                  <a:gd name="T38" fmla="*/ 413 w 676"/>
                  <a:gd name="T39" fmla="*/ 144 h 678"/>
                  <a:gd name="T40" fmla="*/ 422 w 676"/>
                  <a:gd name="T41" fmla="*/ 215 h 678"/>
                  <a:gd name="T42" fmla="*/ 463 w 676"/>
                  <a:gd name="T43" fmla="*/ 255 h 678"/>
                  <a:gd name="T44" fmla="*/ 532 w 676"/>
                  <a:gd name="T45" fmla="*/ 264 h 678"/>
                  <a:gd name="T46" fmla="*/ 478 w 676"/>
                  <a:gd name="T47" fmla="*/ 160 h 678"/>
                  <a:gd name="T48" fmla="*/ 517 w 676"/>
                  <a:gd name="T49" fmla="*/ 199 h 678"/>
                  <a:gd name="T50" fmla="*/ 517 w 676"/>
                  <a:gd name="T51" fmla="*/ 185 h 678"/>
                  <a:gd name="T52" fmla="*/ 258 w 676"/>
                  <a:gd name="T53" fmla="*/ 678 h 678"/>
                  <a:gd name="T54" fmla="*/ 233 w 676"/>
                  <a:gd name="T55" fmla="*/ 615 h 678"/>
                  <a:gd name="T56" fmla="*/ 105 w 676"/>
                  <a:gd name="T57" fmla="*/ 628 h 678"/>
                  <a:gd name="T58" fmla="*/ 90 w 676"/>
                  <a:gd name="T59" fmla="*/ 522 h 678"/>
                  <a:gd name="T60" fmla="*/ 0 w 676"/>
                  <a:gd name="T61" fmla="*/ 424 h 678"/>
                  <a:gd name="T62" fmla="*/ 14 w 676"/>
                  <a:gd name="T63" fmla="*/ 350 h 678"/>
                  <a:gd name="T64" fmla="*/ 91 w 676"/>
                  <a:gd name="T65" fmla="*/ 229 h 678"/>
                  <a:gd name="T66" fmla="*/ 159 w 676"/>
                  <a:gd name="T67" fmla="*/ 185 h 678"/>
                  <a:gd name="T68" fmla="*/ 276 w 676"/>
                  <a:gd name="T69" fmla="*/ 222 h 678"/>
                  <a:gd name="T70" fmla="*/ 378 w 676"/>
                  <a:gd name="T71" fmla="*/ 190 h 678"/>
                  <a:gd name="T72" fmla="*/ 423 w 676"/>
                  <a:gd name="T73" fmla="*/ 310 h 678"/>
                  <a:gd name="T74" fmla="*/ 513 w 676"/>
                  <a:gd name="T75" fmla="*/ 370 h 678"/>
                  <a:gd name="T76" fmla="*/ 456 w 676"/>
                  <a:gd name="T77" fmla="*/ 419 h 678"/>
                  <a:gd name="T78" fmla="*/ 494 w 676"/>
                  <a:gd name="T79" fmla="*/ 527 h 678"/>
                  <a:gd name="T80" fmla="*/ 393 w 676"/>
                  <a:gd name="T81" fmla="*/ 564 h 678"/>
                  <a:gd name="T82" fmla="*/ 325 w 676"/>
                  <a:gd name="T83" fmla="*/ 669 h 678"/>
                  <a:gd name="T84" fmla="*/ 165 w 676"/>
                  <a:gd name="T85" fmla="*/ 577 h 678"/>
                  <a:gd name="T86" fmla="*/ 261 w 676"/>
                  <a:gd name="T87" fmla="*/ 664 h 678"/>
                  <a:gd name="T88" fmla="*/ 323 w 676"/>
                  <a:gd name="T89" fmla="*/ 591 h 678"/>
                  <a:gd name="T90" fmla="*/ 449 w 676"/>
                  <a:gd name="T91" fmla="*/ 573 h 678"/>
                  <a:gd name="T92" fmla="*/ 432 w 676"/>
                  <a:gd name="T93" fmla="*/ 479 h 678"/>
                  <a:gd name="T94" fmla="*/ 445 w 676"/>
                  <a:gd name="T95" fmla="*/ 396 h 678"/>
                  <a:gd name="T96" fmla="*/ 421 w 676"/>
                  <a:gd name="T97" fmla="*/ 325 h 678"/>
                  <a:gd name="T98" fmla="*/ 356 w 676"/>
                  <a:gd name="T99" fmla="*/ 258 h 678"/>
                  <a:gd name="T100" fmla="*/ 286 w 676"/>
                  <a:gd name="T101" fmla="*/ 233 h 678"/>
                  <a:gd name="T102" fmla="*/ 199 w 676"/>
                  <a:gd name="T103" fmla="*/ 245 h 678"/>
                  <a:gd name="T104" fmla="*/ 106 w 676"/>
                  <a:gd name="T105" fmla="*/ 228 h 678"/>
                  <a:gd name="T106" fmla="*/ 85 w 676"/>
                  <a:gd name="T107" fmla="*/ 357 h 678"/>
                  <a:gd name="T108" fmla="*/ 14 w 676"/>
                  <a:gd name="T109" fmla="*/ 419 h 678"/>
                  <a:gd name="T110" fmla="*/ 104 w 676"/>
                  <a:gd name="T111" fmla="*/ 519 h 678"/>
                  <a:gd name="T112" fmla="*/ 109 w 676"/>
                  <a:gd name="T113" fmla="*/ 613 h 678"/>
                  <a:gd name="T114" fmla="*/ 258 w 676"/>
                  <a:gd name="T115" fmla="*/ 484 h 678"/>
                  <a:gd name="T116" fmla="*/ 323 w 676"/>
                  <a:gd name="T117" fmla="*/ 419 h 678"/>
                  <a:gd name="T118" fmla="*/ 207 w 676"/>
                  <a:gd name="T119" fmla="*/ 419 h 678"/>
                  <a:gd name="T120" fmla="*/ 258 w 676"/>
                  <a:gd name="T121" fmla="*/ 368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76" h="678">
                    <a:moveTo>
                      <a:pt x="556" y="314"/>
                    </a:moveTo>
                    <a:cubicBezTo>
                      <a:pt x="554" y="314"/>
                      <a:pt x="551" y="313"/>
                      <a:pt x="550" y="311"/>
                    </a:cubicBezTo>
                    <a:cubicBezTo>
                      <a:pt x="529" y="279"/>
                      <a:pt x="529" y="279"/>
                      <a:pt x="529" y="279"/>
                    </a:cubicBezTo>
                    <a:cubicBezTo>
                      <a:pt x="508" y="281"/>
                      <a:pt x="488" y="277"/>
                      <a:pt x="468" y="269"/>
                    </a:cubicBezTo>
                    <a:cubicBezTo>
                      <a:pt x="439" y="293"/>
                      <a:pt x="439" y="293"/>
                      <a:pt x="439" y="293"/>
                    </a:cubicBezTo>
                    <a:cubicBezTo>
                      <a:pt x="437" y="295"/>
                      <a:pt x="433" y="295"/>
                      <a:pt x="431" y="293"/>
                    </a:cubicBezTo>
                    <a:cubicBezTo>
                      <a:pt x="412" y="281"/>
                      <a:pt x="397" y="266"/>
                      <a:pt x="385" y="248"/>
                    </a:cubicBezTo>
                    <a:cubicBezTo>
                      <a:pt x="383" y="245"/>
                      <a:pt x="383" y="242"/>
                      <a:pt x="385" y="239"/>
                    </a:cubicBezTo>
                    <a:cubicBezTo>
                      <a:pt x="409" y="210"/>
                      <a:pt x="409" y="210"/>
                      <a:pt x="409" y="210"/>
                    </a:cubicBezTo>
                    <a:cubicBezTo>
                      <a:pt x="401" y="194"/>
                      <a:pt x="398" y="177"/>
                      <a:pt x="398" y="160"/>
                    </a:cubicBezTo>
                    <a:cubicBezTo>
                      <a:pt x="398" y="155"/>
                      <a:pt x="398" y="151"/>
                      <a:pt x="398" y="146"/>
                    </a:cubicBezTo>
                    <a:cubicBezTo>
                      <a:pt x="367" y="125"/>
                      <a:pt x="367" y="125"/>
                      <a:pt x="367" y="125"/>
                    </a:cubicBezTo>
                    <a:cubicBezTo>
                      <a:pt x="364" y="124"/>
                      <a:pt x="363" y="120"/>
                      <a:pt x="364" y="117"/>
                    </a:cubicBezTo>
                    <a:cubicBezTo>
                      <a:pt x="370" y="96"/>
                      <a:pt x="380" y="77"/>
                      <a:pt x="393" y="60"/>
                    </a:cubicBezTo>
                    <a:cubicBezTo>
                      <a:pt x="395" y="57"/>
                      <a:pt x="399" y="57"/>
                      <a:pt x="401" y="58"/>
                    </a:cubicBezTo>
                    <a:cubicBezTo>
                      <a:pt x="437" y="71"/>
                      <a:pt x="437" y="71"/>
                      <a:pt x="437" y="71"/>
                    </a:cubicBezTo>
                    <a:cubicBezTo>
                      <a:pt x="453" y="57"/>
                      <a:pt x="472" y="47"/>
                      <a:pt x="494" y="43"/>
                    </a:cubicBezTo>
                    <a:cubicBezTo>
                      <a:pt x="504" y="6"/>
                      <a:pt x="504" y="6"/>
                      <a:pt x="504" y="6"/>
                    </a:cubicBezTo>
                    <a:cubicBezTo>
                      <a:pt x="505" y="3"/>
                      <a:pt x="507" y="1"/>
                      <a:pt x="510" y="1"/>
                    </a:cubicBezTo>
                    <a:cubicBezTo>
                      <a:pt x="532" y="0"/>
                      <a:pt x="554" y="4"/>
                      <a:pt x="574" y="11"/>
                    </a:cubicBezTo>
                    <a:cubicBezTo>
                      <a:pt x="577" y="12"/>
                      <a:pt x="579" y="15"/>
                      <a:pt x="579" y="18"/>
                    </a:cubicBezTo>
                    <a:cubicBezTo>
                      <a:pt x="577" y="56"/>
                      <a:pt x="577" y="56"/>
                      <a:pt x="577" y="56"/>
                    </a:cubicBezTo>
                    <a:cubicBezTo>
                      <a:pt x="596" y="67"/>
                      <a:pt x="611" y="83"/>
                      <a:pt x="621" y="102"/>
                    </a:cubicBezTo>
                    <a:cubicBezTo>
                      <a:pt x="659" y="100"/>
                      <a:pt x="659" y="100"/>
                      <a:pt x="659" y="100"/>
                    </a:cubicBezTo>
                    <a:cubicBezTo>
                      <a:pt x="662" y="100"/>
                      <a:pt x="665" y="102"/>
                      <a:pt x="666" y="105"/>
                    </a:cubicBezTo>
                    <a:cubicBezTo>
                      <a:pt x="673" y="122"/>
                      <a:pt x="676" y="141"/>
                      <a:pt x="676" y="160"/>
                    </a:cubicBezTo>
                    <a:cubicBezTo>
                      <a:pt x="676" y="163"/>
                      <a:pt x="676" y="166"/>
                      <a:pt x="676" y="169"/>
                    </a:cubicBezTo>
                    <a:cubicBezTo>
                      <a:pt x="676" y="172"/>
                      <a:pt x="674" y="174"/>
                      <a:pt x="671" y="175"/>
                    </a:cubicBezTo>
                    <a:cubicBezTo>
                      <a:pt x="634" y="185"/>
                      <a:pt x="634" y="185"/>
                      <a:pt x="634" y="185"/>
                    </a:cubicBezTo>
                    <a:cubicBezTo>
                      <a:pt x="629" y="206"/>
                      <a:pt x="619" y="225"/>
                      <a:pt x="605" y="241"/>
                    </a:cubicBezTo>
                    <a:cubicBezTo>
                      <a:pt x="618" y="277"/>
                      <a:pt x="618" y="277"/>
                      <a:pt x="618" y="277"/>
                    </a:cubicBezTo>
                    <a:cubicBezTo>
                      <a:pt x="619" y="279"/>
                      <a:pt x="618" y="283"/>
                      <a:pt x="616" y="284"/>
                    </a:cubicBezTo>
                    <a:cubicBezTo>
                      <a:pt x="598" y="298"/>
                      <a:pt x="579" y="308"/>
                      <a:pt x="558" y="314"/>
                    </a:cubicBezTo>
                    <a:cubicBezTo>
                      <a:pt x="557" y="314"/>
                      <a:pt x="557" y="314"/>
                      <a:pt x="556" y="314"/>
                    </a:cubicBezTo>
                    <a:close/>
                    <a:moveTo>
                      <a:pt x="533" y="264"/>
                    </a:moveTo>
                    <a:cubicBezTo>
                      <a:pt x="535" y="264"/>
                      <a:pt x="538" y="265"/>
                      <a:pt x="539" y="267"/>
                    </a:cubicBezTo>
                    <a:cubicBezTo>
                      <a:pt x="559" y="299"/>
                      <a:pt x="559" y="299"/>
                      <a:pt x="559" y="299"/>
                    </a:cubicBezTo>
                    <a:cubicBezTo>
                      <a:pt x="575" y="294"/>
                      <a:pt x="590" y="286"/>
                      <a:pt x="603" y="277"/>
                    </a:cubicBezTo>
                    <a:cubicBezTo>
                      <a:pt x="590" y="242"/>
                      <a:pt x="590" y="242"/>
                      <a:pt x="590" y="242"/>
                    </a:cubicBezTo>
                    <a:cubicBezTo>
                      <a:pt x="589" y="239"/>
                      <a:pt x="590" y="236"/>
                      <a:pt x="592" y="234"/>
                    </a:cubicBezTo>
                    <a:cubicBezTo>
                      <a:pt x="607" y="219"/>
                      <a:pt x="617" y="199"/>
                      <a:pt x="621" y="178"/>
                    </a:cubicBezTo>
                    <a:cubicBezTo>
                      <a:pt x="621" y="175"/>
                      <a:pt x="623" y="173"/>
                      <a:pt x="626" y="172"/>
                    </a:cubicBezTo>
                    <a:cubicBezTo>
                      <a:pt x="662" y="163"/>
                      <a:pt x="662" y="163"/>
                      <a:pt x="662" y="163"/>
                    </a:cubicBezTo>
                    <a:cubicBezTo>
                      <a:pt x="662" y="162"/>
                      <a:pt x="662" y="161"/>
                      <a:pt x="662" y="160"/>
                    </a:cubicBezTo>
                    <a:cubicBezTo>
                      <a:pt x="662" y="144"/>
                      <a:pt x="660" y="129"/>
                      <a:pt x="655" y="114"/>
                    </a:cubicBezTo>
                    <a:cubicBezTo>
                      <a:pt x="618" y="116"/>
                      <a:pt x="618" y="116"/>
                      <a:pt x="618" y="116"/>
                    </a:cubicBezTo>
                    <a:cubicBezTo>
                      <a:pt x="615" y="116"/>
                      <a:pt x="612" y="114"/>
                      <a:pt x="611" y="112"/>
                    </a:cubicBezTo>
                    <a:cubicBezTo>
                      <a:pt x="601" y="92"/>
                      <a:pt x="586" y="77"/>
                      <a:pt x="566" y="67"/>
                    </a:cubicBezTo>
                    <a:cubicBezTo>
                      <a:pt x="564" y="65"/>
                      <a:pt x="562" y="63"/>
                      <a:pt x="563" y="60"/>
                    </a:cubicBezTo>
                    <a:cubicBezTo>
                      <a:pt x="565" y="23"/>
                      <a:pt x="565" y="23"/>
                      <a:pt x="565" y="23"/>
                    </a:cubicBezTo>
                    <a:cubicBezTo>
                      <a:pt x="549" y="17"/>
                      <a:pt x="533" y="15"/>
                      <a:pt x="517" y="15"/>
                    </a:cubicBezTo>
                    <a:cubicBezTo>
                      <a:pt x="517" y="15"/>
                      <a:pt x="516" y="15"/>
                      <a:pt x="516" y="15"/>
                    </a:cubicBezTo>
                    <a:cubicBezTo>
                      <a:pt x="506" y="51"/>
                      <a:pt x="506" y="51"/>
                      <a:pt x="506" y="51"/>
                    </a:cubicBezTo>
                    <a:cubicBezTo>
                      <a:pt x="505" y="53"/>
                      <a:pt x="503" y="55"/>
                      <a:pt x="500" y="56"/>
                    </a:cubicBezTo>
                    <a:cubicBezTo>
                      <a:pt x="479" y="59"/>
                      <a:pt x="459" y="69"/>
                      <a:pt x="443" y="84"/>
                    </a:cubicBezTo>
                    <a:cubicBezTo>
                      <a:pt x="442" y="86"/>
                      <a:pt x="439" y="87"/>
                      <a:pt x="436" y="86"/>
                    </a:cubicBezTo>
                    <a:cubicBezTo>
                      <a:pt x="401" y="73"/>
                      <a:pt x="401" y="73"/>
                      <a:pt x="401" y="73"/>
                    </a:cubicBezTo>
                    <a:cubicBezTo>
                      <a:pt x="391" y="86"/>
                      <a:pt x="384" y="101"/>
                      <a:pt x="379" y="116"/>
                    </a:cubicBezTo>
                    <a:cubicBezTo>
                      <a:pt x="410" y="137"/>
                      <a:pt x="410" y="137"/>
                      <a:pt x="410" y="137"/>
                    </a:cubicBezTo>
                    <a:cubicBezTo>
                      <a:pt x="412" y="138"/>
                      <a:pt x="413" y="141"/>
                      <a:pt x="413" y="144"/>
                    </a:cubicBezTo>
                    <a:cubicBezTo>
                      <a:pt x="412" y="149"/>
                      <a:pt x="412" y="154"/>
                      <a:pt x="412" y="160"/>
                    </a:cubicBezTo>
                    <a:cubicBezTo>
                      <a:pt x="412" y="176"/>
                      <a:pt x="415" y="193"/>
                      <a:pt x="423" y="207"/>
                    </a:cubicBezTo>
                    <a:cubicBezTo>
                      <a:pt x="424" y="210"/>
                      <a:pt x="424" y="213"/>
                      <a:pt x="422" y="215"/>
                    </a:cubicBezTo>
                    <a:cubicBezTo>
                      <a:pt x="399" y="244"/>
                      <a:pt x="399" y="244"/>
                      <a:pt x="399" y="244"/>
                    </a:cubicBezTo>
                    <a:cubicBezTo>
                      <a:pt x="409" y="258"/>
                      <a:pt x="421" y="269"/>
                      <a:pt x="434" y="279"/>
                    </a:cubicBezTo>
                    <a:cubicBezTo>
                      <a:pt x="463" y="255"/>
                      <a:pt x="463" y="255"/>
                      <a:pt x="463" y="255"/>
                    </a:cubicBezTo>
                    <a:cubicBezTo>
                      <a:pt x="465" y="254"/>
                      <a:pt x="468" y="253"/>
                      <a:pt x="471" y="254"/>
                    </a:cubicBezTo>
                    <a:cubicBezTo>
                      <a:pt x="485" y="262"/>
                      <a:pt x="501" y="265"/>
                      <a:pt x="517" y="265"/>
                    </a:cubicBezTo>
                    <a:cubicBezTo>
                      <a:pt x="522" y="265"/>
                      <a:pt x="527" y="265"/>
                      <a:pt x="532" y="264"/>
                    </a:cubicBezTo>
                    <a:cubicBezTo>
                      <a:pt x="532" y="264"/>
                      <a:pt x="533" y="264"/>
                      <a:pt x="533" y="264"/>
                    </a:cubicBezTo>
                    <a:close/>
                    <a:moveTo>
                      <a:pt x="517" y="199"/>
                    </a:moveTo>
                    <a:cubicBezTo>
                      <a:pt x="496" y="199"/>
                      <a:pt x="478" y="181"/>
                      <a:pt x="478" y="160"/>
                    </a:cubicBezTo>
                    <a:cubicBezTo>
                      <a:pt x="478" y="138"/>
                      <a:pt x="496" y="121"/>
                      <a:pt x="517" y="121"/>
                    </a:cubicBezTo>
                    <a:cubicBezTo>
                      <a:pt x="539" y="121"/>
                      <a:pt x="556" y="138"/>
                      <a:pt x="556" y="160"/>
                    </a:cubicBezTo>
                    <a:cubicBezTo>
                      <a:pt x="556" y="181"/>
                      <a:pt x="539" y="199"/>
                      <a:pt x="517" y="199"/>
                    </a:cubicBezTo>
                    <a:close/>
                    <a:moveTo>
                      <a:pt x="517" y="135"/>
                    </a:moveTo>
                    <a:cubicBezTo>
                      <a:pt x="503" y="135"/>
                      <a:pt x="492" y="146"/>
                      <a:pt x="492" y="160"/>
                    </a:cubicBezTo>
                    <a:cubicBezTo>
                      <a:pt x="492" y="174"/>
                      <a:pt x="503" y="185"/>
                      <a:pt x="517" y="185"/>
                    </a:cubicBezTo>
                    <a:cubicBezTo>
                      <a:pt x="531" y="185"/>
                      <a:pt x="542" y="174"/>
                      <a:pt x="542" y="160"/>
                    </a:cubicBezTo>
                    <a:cubicBezTo>
                      <a:pt x="542" y="146"/>
                      <a:pt x="531" y="135"/>
                      <a:pt x="517" y="135"/>
                    </a:cubicBezTo>
                    <a:close/>
                    <a:moveTo>
                      <a:pt x="258" y="678"/>
                    </a:moveTo>
                    <a:cubicBezTo>
                      <a:pt x="256" y="678"/>
                      <a:pt x="256" y="678"/>
                      <a:pt x="256" y="678"/>
                    </a:cubicBezTo>
                    <a:cubicBezTo>
                      <a:pt x="252" y="678"/>
                      <a:pt x="250" y="676"/>
                      <a:pt x="249" y="673"/>
                    </a:cubicBezTo>
                    <a:cubicBezTo>
                      <a:pt x="233" y="615"/>
                      <a:pt x="233" y="615"/>
                      <a:pt x="233" y="615"/>
                    </a:cubicBezTo>
                    <a:cubicBezTo>
                      <a:pt x="208" y="612"/>
                      <a:pt x="184" y="604"/>
                      <a:pt x="162" y="592"/>
                    </a:cubicBezTo>
                    <a:cubicBezTo>
                      <a:pt x="113" y="628"/>
                      <a:pt x="113" y="628"/>
                      <a:pt x="113" y="628"/>
                    </a:cubicBezTo>
                    <a:cubicBezTo>
                      <a:pt x="111" y="630"/>
                      <a:pt x="108" y="630"/>
                      <a:pt x="105" y="628"/>
                    </a:cubicBezTo>
                    <a:cubicBezTo>
                      <a:pt x="86" y="614"/>
                      <a:pt x="69" y="598"/>
                      <a:pt x="55" y="579"/>
                    </a:cubicBezTo>
                    <a:cubicBezTo>
                      <a:pt x="53" y="577"/>
                      <a:pt x="53" y="574"/>
                      <a:pt x="55" y="571"/>
                    </a:cubicBezTo>
                    <a:cubicBezTo>
                      <a:pt x="90" y="522"/>
                      <a:pt x="90" y="522"/>
                      <a:pt x="90" y="522"/>
                    </a:cubicBezTo>
                    <a:cubicBezTo>
                      <a:pt x="75" y="499"/>
                      <a:pt x="66" y="474"/>
                      <a:pt x="62" y="447"/>
                    </a:cubicBezTo>
                    <a:cubicBezTo>
                      <a:pt x="5" y="431"/>
                      <a:pt x="5" y="431"/>
                      <a:pt x="5" y="431"/>
                    </a:cubicBezTo>
                    <a:cubicBezTo>
                      <a:pt x="2" y="430"/>
                      <a:pt x="0" y="427"/>
                      <a:pt x="0" y="424"/>
                    </a:cubicBezTo>
                    <a:cubicBezTo>
                      <a:pt x="0" y="423"/>
                      <a:pt x="0" y="421"/>
                      <a:pt x="0" y="419"/>
                    </a:cubicBezTo>
                    <a:cubicBezTo>
                      <a:pt x="0" y="398"/>
                      <a:pt x="2" y="376"/>
                      <a:pt x="8" y="355"/>
                    </a:cubicBezTo>
                    <a:cubicBezTo>
                      <a:pt x="8" y="352"/>
                      <a:pt x="11" y="350"/>
                      <a:pt x="14" y="350"/>
                    </a:cubicBezTo>
                    <a:cubicBezTo>
                      <a:pt x="74" y="348"/>
                      <a:pt x="74" y="348"/>
                      <a:pt x="74" y="348"/>
                    </a:cubicBezTo>
                    <a:cubicBezTo>
                      <a:pt x="83" y="324"/>
                      <a:pt x="97" y="302"/>
                      <a:pt x="114" y="283"/>
                    </a:cubicBezTo>
                    <a:cubicBezTo>
                      <a:pt x="91" y="229"/>
                      <a:pt x="91" y="229"/>
                      <a:pt x="91" y="229"/>
                    </a:cubicBezTo>
                    <a:cubicBezTo>
                      <a:pt x="89" y="226"/>
                      <a:pt x="90" y="223"/>
                      <a:pt x="93" y="221"/>
                    </a:cubicBezTo>
                    <a:cubicBezTo>
                      <a:pt x="110" y="206"/>
                      <a:pt x="130" y="193"/>
                      <a:pt x="151" y="184"/>
                    </a:cubicBezTo>
                    <a:cubicBezTo>
                      <a:pt x="154" y="182"/>
                      <a:pt x="157" y="183"/>
                      <a:pt x="159" y="185"/>
                    </a:cubicBezTo>
                    <a:cubicBezTo>
                      <a:pt x="199" y="230"/>
                      <a:pt x="199" y="230"/>
                      <a:pt x="199" y="230"/>
                    </a:cubicBezTo>
                    <a:cubicBezTo>
                      <a:pt x="218" y="224"/>
                      <a:pt x="238" y="221"/>
                      <a:pt x="258" y="221"/>
                    </a:cubicBezTo>
                    <a:cubicBezTo>
                      <a:pt x="264" y="221"/>
                      <a:pt x="270" y="222"/>
                      <a:pt x="276" y="222"/>
                    </a:cubicBezTo>
                    <a:cubicBezTo>
                      <a:pt x="304" y="170"/>
                      <a:pt x="304" y="170"/>
                      <a:pt x="304" y="170"/>
                    </a:cubicBezTo>
                    <a:cubicBezTo>
                      <a:pt x="306" y="167"/>
                      <a:pt x="309" y="165"/>
                      <a:pt x="312" y="166"/>
                    </a:cubicBezTo>
                    <a:cubicBezTo>
                      <a:pt x="335" y="171"/>
                      <a:pt x="357" y="179"/>
                      <a:pt x="378" y="190"/>
                    </a:cubicBezTo>
                    <a:cubicBezTo>
                      <a:pt x="380" y="191"/>
                      <a:pt x="382" y="194"/>
                      <a:pt x="381" y="197"/>
                    </a:cubicBezTo>
                    <a:cubicBezTo>
                      <a:pt x="371" y="256"/>
                      <a:pt x="371" y="256"/>
                      <a:pt x="371" y="256"/>
                    </a:cubicBezTo>
                    <a:cubicBezTo>
                      <a:pt x="391" y="271"/>
                      <a:pt x="410" y="289"/>
                      <a:pt x="423" y="310"/>
                    </a:cubicBezTo>
                    <a:cubicBezTo>
                      <a:pt x="482" y="300"/>
                      <a:pt x="482" y="300"/>
                      <a:pt x="482" y="300"/>
                    </a:cubicBezTo>
                    <a:cubicBezTo>
                      <a:pt x="485" y="299"/>
                      <a:pt x="489" y="301"/>
                      <a:pt x="490" y="303"/>
                    </a:cubicBezTo>
                    <a:cubicBezTo>
                      <a:pt x="500" y="325"/>
                      <a:pt x="508" y="347"/>
                      <a:pt x="513" y="370"/>
                    </a:cubicBezTo>
                    <a:cubicBezTo>
                      <a:pt x="513" y="373"/>
                      <a:pt x="512" y="376"/>
                      <a:pt x="509" y="378"/>
                    </a:cubicBezTo>
                    <a:cubicBezTo>
                      <a:pt x="456" y="406"/>
                      <a:pt x="456" y="406"/>
                      <a:pt x="456" y="406"/>
                    </a:cubicBezTo>
                    <a:cubicBezTo>
                      <a:pt x="456" y="410"/>
                      <a:pt x="456" y="415"/>
                      <a:pt x="456" y="419"/>
                    </a:cubicBezTo>
                    <a:cubicBezTo>
                      <a:pt x="456" y="439"/>
                      <a:pt x="453" y="459"/>
                      <a:pt x="447" y="479"/>
                    </a:cubicBezTo>
                    <a:cubicBezTo>
                      <a:pt x="492" y="519"/>
                      <a:pt x="492" y="519"/>
                      <a:pt x="492" y="519"/>
                    </a:cubicBezTo>
                    <a:cubicBezTo>
                      <a:pt x="494" y="521"/>
                      <a:pt x="495" y="524"/>
                      <a:pt x="494" y="527"/>
                    </a:cubicBezTo>
                    <a:cubicBezTo>
                      <a:pt x="484" y="548"/>
                      <a:pt x="471" y="568"/>
                      <a:pt x="456" y="586"/>
                    </a:cubicBezTo>
                    <a:cubicBezTo>
                      <a:pt x="454" y="589"/>
                      <a:pt x="451" y="589"/>
                      <a:pt x="448" y="588"/>
                    </a:cubicBezTo>
                    <a:cubicBezTo>
                      <a:pt x="393" y="564"/>
                      <a:pt x="393" y="564"/>
                      <a:pt x="393" y="564"/>
                    </a:cubicBezTo>
                    <a:cubicBezTo>
                      <a:pt x="375" y="581"/>
                      <a:pt x="355" y="594"/>
                      <a:pt x="333" y="603"/>
                    </a:cubicBezTo>
                    <a:cubicBezTo>
                      <a:pt x="330" y="663"/>
                      <a:pt x="330" y="663"/>
                      <a:pt x="330" y="663"/>
                    </a:cubicBezTo>
                    <a:cubicBezTo>
                      <a:pt x="330" y="666"/>
                      <a:pt x="328" y="669"/>
                      <a:pt x="325" y="669"/>
                    </a:cubicBezTo>
                    <a:cubicBezTo>
                      <a:pt x="303" y="675"/>
                      <a:pt x="281" y="678"/>
                      <a:pt x="258" y="678"/>
                    </a:cubicBezTo>
                    <a:close/>
                    <a:moveTo>
                      <a:pt x="161" y="576"/>
                    </a:moveTo>
                    <a:cubicBezTo>
                      <a:pt x="162" y="576"/>
                      <a:pt x="164" y="577"/>
                      <a:pt x="165" y="577"/>
                    </a:cubicBezTo>
                    <a:cubicBezTo>
                      <a:pt x="188" y="591"/>
                      <a:pt x="213" y="599"/>
                      <a:pt x="239" y="602"/>
                    </a:cubicBezTo>
                    <a:cubicBezTo>
                      <a:pt x="242" y="602"/>
                      <a:pt x="244" y="604"/>
                      <a:pt x="245" y="607"/>
                    </a:cubicBezTo>
                    <a:cubicBezTo>
                      <a:pt x="261" y="664"/>
                      <a:pt x="261" y="664"/>
                      <a:pt x="261" y="664"/>
                    </a:cubicBezTo>
                    <a:cubicBezTo>
                      <a:pt x="280" y="664"/>
                      <a:pt x="298" y="661"/>
                      <a:pt x="316" y="657"/>
                    </a:cubicBezTo>
                    <a:cubicBezTo>
                      <a:pt x="319" y="598"/>
                      <a:pt x="319" y="598"/>
                      <a:pt x="319" y="598"/>
                    </a:cubicBezTo>
                    <a:cubicBezTo>
                      <a:pt x="319" y="595"/>
                      <a:pt x="321" y="592"/>
                      <a:pt x="323" y="591"/>
                    </a:cubicBezTo>
                    <a:cubicBezTo>
                      <a:pt x="347" y="582"/>
                      <a:pt x="368" y="569"/>
                      <a:pt x="387" y="551"/>
                    </a:cubicBezTo>
                    <a:cubicBezTo>
                      <a:pt x="389" y="549"/>
                      <a:pt x="392" y="548"/>
                      <a:pt x="394" y="549"/>
                    </a:cubicBezTo>
                    <a:cubicBezTo>
                      <a:pt x="449" y="573"/>
                      <a:pt x="449" y="573"/>
                      <a:pt x="449" y="573"/>
                    </a:cubicBezTo>
                    <a:cubicBezTo>
                      <a:pt x="461" y="558"/>
                      <a:pt x="471" y="542"/>
                      <a:pt x="479" y="526"/>
                    </a:cubicBezTo>
                    <a:cubicBezTo>
                      <a:pt x="434" y="486"/>
                      <a:pt x="434" y="486"/>
                      <a:pt x="434" y="486"/>
                    </a:cubicBezTo>
                    <a:cubicBezTo>
                      <a:pt x="432" y="484"/>
                      <a:pt x="431" y="481"/>
                      <a:pt x="432" y="479"/>
                    </a:cubicBezTo>
                    <a:cubicBezTo>
                      <a:pt x="439" y="459"/>
                      <a:pt x="442" y="439"/>
                      <a:pt x="442" y="419"/>
                    </a:cubicBezTo>
                    <a:cubicBezTo>
                      <a:pt x="442" y="414"/>
                      <a:pt x="442" y="408"/>
                      <a:pt x="441" y="402"/>
                    </a:cubicBezTo>
                    <a:cubicBezTo>
                      <a:pt x="441" y="400"/>
                      <a:pt x="443" y="397"/>
                      <a:pt x="445" y="396"/>
                    </a:cubicBezTo>
                    <a:cubicBezTo>
                      <a:pt x="498" y="368"/>
                      <a:pt x="498" y="368"/>
                      <a:pt x="498" y="368"/>
                    </a:cubicBezTo>
                    <a:cubicBezTo>
                      <a:pt x="494" y="349"/>
                      <a:pt x="488" y="331"/>
                      <a:pt x="480" y="314"/>
                    </a:cubicBezTo>
                    <a:cubicBezTo>
                      <a:pt x="421" y="325"/>
                      <a:pt x="421" y="325"/>
                      <a:pt x="421" y="325"/>
                    </a:cubicBezTo>
                    <a:cubicBezTo>
                      <a:pt x="419" y="325"/>
                      <a:pt x="416" y="324"/>
                      <a:pt x="414" y="322"/>
                    </a:cubicBezTo>
                    <a:cubicBezTo>
                      <a:pt x="400" y="299"/>
                      <a:pt x="381" y="280"/>
                      <a:pt x="359" y="265"/>
                    </a:cubicBezTo>
                    <a:cubicBezTo>
                      <a:pt x="357" y="264"/>
                      <a:pt x="356" y="261"/>
                      <a:pt x="356" y="258"/>
                    </a:cubicBezTo>
                    <a:cubicBezTo>
                      <a:pt x="367" y="200"/>
                      <a:pt x="367" y="200"/>
                      <a:pt x="367" y="200"/>
                    </a:cubicBezTo>
                    <a:cubicBezTo>
                      <a:pt x="350" y="191"/>
                      <a:pt x="332" y="185"/>
                      <a:pt x="314" y="181"/>
                    </a:cubicBezTo>
                    <a:cubicBezTo>
                      <a:pt x="286" y="233"/>
                      <a:pt x="286" y="233"/>
                      <a:pt x="286" y="233"/>
                    </a:cubicBezTo>
                    <a:cubicBezTo>
                      <a:pt x="285" y="235"/>
                      <a:pt x="282" y="237"/>
                      <a:pt x="279" y="237"/>
                    </a:cubicBezTo>
                    <a:cubicBezTo>
                      <a:pt x="272" y="236"/>
                      <a:pt x="265" y="235"/>
                      <a:pt x="258" y="235"/>
                    </a:cubicBezTo>
                    <a:cubicBezTo>
                      <a:pt x="238" y="235"/>
                      <a:pt x="218" y="239"/>
                      <a:pt x="199" y="245"/>
                    </a:cubicBezTo>
                    <a:cubicBezTo>
                      <a:pt x="197" y="246"/>
                      <a:pt x="194" y="245"/>
                      <a:pt x="192" y="243"/>
                    </a:cubicBezTo>
                    <a:cubicBezTo>
                      <a:pt x="152" y="198"/>
                      <a:pt x="152" y="198"/>
                      <a:pt x="152" y="198"/>
                    </a:cubicBezTo>
                    <a:cubicBezTo>
                      <a:pt x="136" y="207"/>
                      <a:pt x="120" y="216"/>
                      <a:pt x="106" y="228"/>
                    </a:cubicBezTo>
                    <a:cubicBezTo>
                      <a:pt x="129" y="282"/>
                      <a:pt x="129" y="282"/>
                      <a:pt x="129" y="282"/>
                    </a:cubicBezTo>
                    <a:cubicBezTo>
                      <a:pt x="130" y="285"/>
                      <a:pt x="130" y="288"/>
                      <a:pt x="128" y="290"/>
                    </a:cubicBezTo>
                    <a:cubicBezTo>
                      <a:pt x="109" y="309"/>
                      <a:pt x="94" y="332"/>
                      <a:pt x="85" y="357"/>
                    </a:cubicBezTo>
                    <a:cubicBezTo>
                      <a:pt x="84" y="360"/>
                      <a:pt x="82" y="361"/>
                      <a:pt x="79" y="362"/>
                    </a:cubicBezTo>
                    <a:cubicBezTo>
                      <a:pt x="20" y="364"/>
                      <a:pt x="20" y="364"/>
                      <a:pt x="20" y="364"/>
                    </a:cubicBezTo>
                    <a:cubicBezTo>
                      <a:pt x="16" y="382"/>
                      <a:pt x="14" y="400"/>
                      <a:pt x="14" y="419"/>
                    </a:cubicBezTo>
                    <a:cubicBezTo>
                      <a:pt x="71" y="435"/>
                      <a:pt x="71" y="435"/>
                      <a:pt x="71" y="435"/>
                    </a:cubicBezTo>
                    <a:cubicBezTo>
                      <a:pt x="73" y="435"/>
                      <a:pt x="75" y="438"/>
                      <a:pt x="76" y="441"/>
                    </a:cubicBezTo>
                    <a:cubicBezTo>
                      <a:pt x="79" y="468"/>
                      <a:pt x="89" y="495"/>
                      <a:pt x="104" y="519"/>
                    </a:cubicBezTo>
                    <a:cubicBezTo>
                      <a:pt x="105" y="521"/>
                      <a:pt x="105" y="524"/>
                      <a:pt x="104" y="527"/>
                    </a:cubicBezTo>
                    <a:cubicBezTo>
                      <a:pt x="69" y="575"/>
                      <a:pt x="69" y="575"/>
                      <a:pt x="69" y="575"/>
                    </a:cubicBezTo>
                    <a:cubicBezTo>
                      <a:pt x="81" y="589"/>
                      <a:pt x="94" y="602"/>
                      <a:pt x="109" y="613"/>
                    </a:cubicBezTo>
                    <a:cubicBezTo>
                      <a:pt x="157" y="578"/>
                      <a:pt x="157" y="578"/>
                      <a:pt x="157" y="578"/>
                    </a:cubicBezTo>
                    <a:cubicBezTo>
                      <a:pt x="158" y="577"/>
                      <a:pt x="160" y="576"/>
                      <a:pt x="161" y="576"/>
                    </a:cubicBezTo>
                    <a:close/>
                    <a:moveTo>
                      <a:pt x="258" y="484"/>
                    </a:moveTo>
                    <a:cubicBezTo>
                      <a:pt x="223" y="484"/>
                      <a:pt x="193" y="455"/>
                      <a:pt x="193" y="419"/>
                    </a:cubicBezTo>
                    <a:cubicBezTo>
                      <a:pt x="193" y="383"/>
                      <a:pt x="223" y="354"/>
                      <a:pt x="258" y="354"/>
                    </a:cubicBezTo>
                    <a:cubicBezTo>
                      <a:pt x="294" y="354"/>
                      <a:pt x="323" y="383"/>
                      <a:pt x="323" y="419"/>
                    </a:cubicBezTo>
                    <a:cubicBezTo>
                      <a:pt x="323" y="455"/>
                      <a:pt x="294" y="484"/>
                      <a:pt x="258" y="484"/>
                    </a:cubicBezTo>
                    <a:close/>
                    <a:moveTo>
                      <a:pt x="258" y="368"/>
                    </a:moveTo>
                    <a:cubicBezTo>
                      <a:pt x="230" y="368"/>
                      <a:pt x="207" y="391"/>
                      <a:pt x="207" y="419"/>
                    </a:cubicBezTo>
                    <a:cubicBezTo>
                      <a:pt x="207" y="447"/>
                      <a:pt x="230" y="470"/>
                      <a:pt x="258" y="470"/>
                    </a:cubicBezTo>
                    <a:cubicBezTo>
                      <a:pt x="286" y="470"/>
                      <a:pt x="309" y="447"/>
                      <a:pt x="309" y="419"/>
                    </a:cubicBezTo>
                    <a:cubicBezTo>
                      <a:pt x="309" y="391"/>
                      <a:pt x="286" y="368"/>
                      <a:pt x="258" y="36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0" name="Группа 69"/>
            <p:cNvGrpSpPr/>
            <p:nvPr/>
          </p:nvGrpSpPr>
          <p:grpSpPr>
            <a:xfrm>
              <a:off x="162498" y="1985912"/>
              <a:ext cx="232080" cy="161811"/>
              <a:chOff x="96438" y="1660238"/>
              <a:chExt cx="183821" cy="153786"/>
            </a:xfrm>
          </p:grpSpPr>
          <p:sp>
            <p:nvSpPr>
              <p:cNvPr id="71" name="Freeform 12"/>
              <p:cNvSpPr>
                <a:spLocks/>
              </p:cNvSpPr>
              <p:nvPr/>
            </p:nvSpPr>
            <p:spPr bwMode="auto">
              <a:xfrm>
                <a:off x="96438" y="1660238"/>
                <a:ext cx="113980" cy="153786"/>
              </a:xfrm>
              <a:custGeom>
                <a:avLst/>
                <a:gdLst>
                  <a:gd name="T0" fmla="*/ 8 w 150"/>
                  <a:gd name="T1" fmla="*/ 145 h 145"/>
                  <a:gd name="T2" fmla="*/ 19 w 150"/>
                  <a:gd name="T3" fmla="*/ 119 h 145"/>
                  <a:gd name="T4" fmla="*/ 57 w 150"/>
                  <a:gd name="T5" fmla="*/ 86 h 145"/>
                  <a:gd name="T6" fmla="*/ 38 w 150"/>
                  <a:gd name="T7" fmla="*/ 46 h 145"/>
                  <a:gd name="T8" fmla="*/ 77 w 150"/>
                  <a:gd name="T9" fmla="*/ 0 h 145"/>
                  <a:gd name="T10" fmla="*/ 114 w 150"/>
                  <a:gd name="T11" fmla="*/ 50 h 145"/>
                  <a:gd name="T12" fmla="*/ 96 w 150"/>
                  <a:gd name="T13" fmla="*/ 87 h 145"/>
                  <a:gd name="T14" fmla="*/ 136 w 150"/>
                  <a:gd name="T15" fmla="*/ 117 h 145"/>
                  <a:gd name="T16" fmla="*/ 150 w 150"/>
                  <a:gd name="T17" fmla="*/ 145 h 145"/>
                  <a:gd name="T18" fmla="*/ 8 w 150"/>
                  <a:gd name="T1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45">
                    <a:moveTo>
                      <a:pt x="8" y="145"/>
                    </a:moveTo>
                    <a:cubicBezTo>
                      <a:pt x="8" y="145"/>
                      <a:pt x="0" y="125"/>
                      <a:pt x="19" y="119"/>
                    </a:cubicBezTo>
                    <a:cubicBezTo>
                      <a:pt x="38" y="113"/>
                      <a:pt x="57" y="107"/>
                      <a:pt x="57" y="86"/>
                    </a:cubicBezTo>
                    <a:cubicBezTo>
                      <a:pt x="57" y="86"/>
                      <a:pt x="38" y="78"/>
                      <a:pt x="38" y="46"/>
                    </a:cubicBezTo>
                    <a:cubicBezTo>
                      <a:pt x="38" y="17"/>
                      <a:pt x="53" y="0"/>
                      <a:pt x="77" y="0"/>
                    </a:cubicBezTo>
                    <a:cubicBezTo>
                      <a:pt x="100" y="0"/>
                      <a:pt x="114" y="19"/>
                      <a:pt x="114" y="50"/>
                    </a:cubicBezTo>
                    <a:cubicBezTo>
                      <a:pt x="114" y="50"/>
                      <a:pt x="109" y="80"/>
                      <a:pt x="96" y="87"/>
                    </a:cubicBezTo>
                    <a:cubicBezTo>
                      <a:pt x="96" y="92"/>
                      <a:pt x="93" y="111"/>
                      <a:pt x="136" y="117"/>
                    </a:cubicBezTo>
                    <a:cubicBezTo>
                      <a:pt x="149" y="119"/>
                      <a:pt x="150" y="132"/>
                      <a:pt x="150" y="145"/>
                    </a:cubicBezTo>
                    <a:lnTo>
                      <a:pt x="8" y="14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13"/>
              <p:cNvSpPr>
                <a:spLocks/>
              </p:cNvSpPr>
              <p:nvPr/>
            </p:nvSpPr>
            <p:spPr bwMode="auto">
              <a:xfrm>
                <a:off x="199762" y="1684296"/>
                <a:ext cx="80497" cy="124640"/>
              </a:xfrm>
              <a:custGeom>
                <a:avLst/>
                <a:gdLst>
                  <a:gd name="T0" fmla="*/ 29 w 96"/>
                  <a:gd name="T1" fmla="*/ 125 h 125"/>
                  <a:gd name="T2" fmla="*/ 96 w 96"/>
                  <a:gd name="T3" fmla="*/ 125 h 125"/>
                  <a:gd name="T4" fmla="*/ 85 w 96"/>
                  <a:gd name="T5" fmla="*/ 101 h 125"/>
                  <a:gd name="T6" fmla="*/ 50 w 96"/>
                  <a:gd name="T7" fmla="*/ 75 h 125"/>
                  <a:gd name="T8" fmla="*/ 66 w 96"/>
                  <a:gd name="T9" fmla="*/ 42 h 125"/>
                  <a:gd name="T10" fmla="*/ 33 w 96"/>
                  <a:gd name="T11" fmla="*/ 0 h 125"/>
                  <a:gd name="T12" fmla="*/ 0 w 96"/>
                  <a:gd name="T13" fmla="*/ 39 h 125"/>
                  <a:gd name="T14" fmla="*/ 16 w 96"/>
                  <a:gd name="T15" fmla="*/ 74 h 125"/>
                  <a:gd name="T16" fmla="*/ 9 w 96"/>
                  <a:gd name="T17" fmla="*/ 89 h 125"/>
                  <a:gd name="T18" fmla="*/ 27 w 96"/>
                  <a:gd name="T19" fmla="*/ 104 h 125"/>
                  <a:gd name="T20" fmla="*/ 29 w 96"/>
                  <a:gd name="T21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125">
                    <a:moveTo>
                      <a:pt x="29" y="125"/>
                    </a:moveTo>
                    <a:cubicBezTo>
                      <a:pt x="96" y="125"/>
                      <a:pt x="96" y="125"/>
                      <a:pt x="96" y="125"/>
                    </a:cubicBezTo>
                    <a:cubicBezTo>
                      <a:pt x="96" y="113"/>
                      <a:pt x="96" y="102"/>
                      <a:pt x="85" y="101"/>
                    </a:cubicBezTo>
                    <a:cubicBezTo>
                      <a:pt x="48" y="95"/>
                      <a:pt x="51" y="79"/>
                      <a:pt x="50" y="75"/>
                    </a:cubicBezTo>
                    <a:cubicBezTo>
                      <a:pt x="61" y="68"/>
                      <a:pt x="66" y="42"/>
                      <a:pt x="66" y="42"/>
                    </a:cubicBezTo>
                    <a:cubicBezTo>
                      <a:pt x="66" y="16"/>
                      <a:pt x="54" y="0"/>
                      <a:pt x="33" y="0"/>
                    </a:cubicBezTo>
                    <a:cubicBezTo>
                      <a:pt x="13" y="0"/>
                      <a:pt x="0" y="14"/>
                      <a:pt x="0" y="39"/>
                    </a:cubicBezTo>
                    <a:cubicBezTo>
                      <a:pt x="0" y="66"/>
                      <a:pt x="16" y="74"/>
                      <a:pt x="16" y="74"/>
                    </a:cubicBezTo>
                    <a:cubicBezTo>
                      <a:pt x="16" y="82"/>
                      <a:pt x="13" y="87"/>
                      <a:pt x="9" y="89"/>
                    </a:cubicBezTo>
                    <a:cubicBezTo>
                      <a:pt x="9" y="89"/>
                      <a:pt x="23" y="92"/>
                      <a:pt x="27" y="104"/>
                    </a:cubicBezTo>
                    <a:cubicBezTo>
                      <a:pt x="30" y="113"/>
                      <a:pt x="29" y="125"/>
                      <a:pt x="29" y="12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6720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7310" y="20265"/>
            <a:ext cx="2254219" cy="53206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24221" y="1082615"/>
            <a:ext cx="5875118" cy="33368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/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:</a:t>
            </a:r>
          </a:p>
          <a:p>
            <a:pPr fontAlgn="base">
              <a:spcBef>
                <a:spcPts val="100"/>
              </a:spcBef>
              <a:spcAft>
                <a:spcPts val="600"/>
              </a:spcAft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рограмма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снижения </a:t>
            </a:r>
            <a:r>
              <a:rPr lang="ru-RU" sz="1000" dirty="0" err="1">
                <a:latin typeface="Century Gothic" panose="020B0502020202020204" pitchFamily="34" charset="0"/>
                <a:cs typeface="Arial" panose="020B0604020202020204" pitchFamily="34" charset="0"/>
              </a:rPr>
              <a:t>сжегов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, потерь и повышения эффективности процессинга ПНХЗ на 2019-2025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гг.</a:t>
            </a:r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АЦИИ 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:</a:t>
            </a:r>
            <a:r>
              <a:rPr lang="en-US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022-2023 гг.</a:t>
            </a:r>
          </a:p>
          <a:p>
            <a:pPr algn="just"/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МР ПОДРЯДЧИК:</a:t>
            </a:r>
          </a:p>
          <a:p>
            <a:pPr algn="just">
              <a:spcBef>
                <a:spcPts val="100"/>
              </a:spcBef>
              <a:spcAft>
                <a:spcPts val="400"/>
              </a:spcAft>
            </a:pPr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8.04.2022г.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Заключен Договор с ТОО «</a:t>
            </a:r>
            <a:r>
              <a:rPr lang="en-US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AVC-Production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  <a:r>
              <a:rPr lang="en-US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консорциуме с Инженерная фирма </a:t>
            </a:r>
            <a:r>
              <a:rPr lang="en-US" sz="1000" dirty="0">
                <a:latin typeface="Century Gothic" panose="020B0502020202020204" pitchFamily="34" charset="0"/>
                <a:cs typeface="Arial" panose="020B0604020202020204" pitchFamily="34" charset="0"/>
              </a:rPr>
              <a:t>MG Engineering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»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АВТОРСКИЙ НАДЗОР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000" b="1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08.04.2022 г. </a:t>
            </a:r>
            <a:r>
              <a:rPr lang="ru-RU" sz="1000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Заключен Договор  с ТОО «ЭОН </a:t>
            </a:r>
            <a:r>
              <a:rPr lang="ru-RU" sz="1000" dirty="0" err="1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Энерго</a:t>
            </a:r>
            <a:r>
              <a:rPr lang="ru-RU" sz="1000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» на услуги по </a:t>
            </a:r>
            <a:r>
              <a:rPr lang="ru-RU" sz="1000" dirty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авторскому надзору </a:t>
            </a:r>
            <a:r>
              <a:rPr lang="ru-RU" sz="1000" b="1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39 827 </a:t>
            </a:r>
            <a:r>
              <a:rPr lang="ru-RU" sz="1000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тыс. тенге с учетом НДС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ТЕХНИЧЕСКИЙ НАДЗОР</a:t>
            </a: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000" b="1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04.07.2022 г. </a:t>
            </a:r>
            <a:r>
              <a:rPr lang="ru-RU" sz="1000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Заключен Договор с </a:t>
            </a:r>
            <a:r>
              <a:rPr lang="ru-RU" sz="1000" dirty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ТОО </a:t>
            </a:r>
            <a:r>
              <a:rPr lang="ru-RU" sz="1000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«АСАР Эксперт» на услуги по </a:t>
            </a:r>
            <a:r>
              <a:rPr lang="ru-RU" sz="1000" dirty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техническому </a:t>
            </a:r>
            <a:r>
              <a:rPr lang="ru-RU" sz="1000" dirty="0" err="1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надзорк</a:t>
            </a:r>
            <a:endParaRPr lang="ru-RU" sz="1000" dirty="0" smtClean="0">
              <a:latin typeface="Century Gothic" panose="020B0502020202020204" pitchFamily="34" charset="0"/>
              <a:ea typeface="Times New Roman" pitchFamily="18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  <a:spcAft>
                <a:spcPts val="200"/>
              </a:spcAft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ТЕКУЩИЙ СТАТУС: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000" b="1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Получен талон на разрешение СМР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000" b="1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24.06.2022 </a:t>
            </a:r>
            <a:r>
              <a:rPr lang="ru-RU" sz="1000" b="1" dirty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г </a:t>
            </a:r>
            <a:r>
              <a:rPr lang="ru-RU" sz="1000" dirty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Завершены в 100%-ом объеме демонтажные работы по утилизационной котельной и П-3 с вывозом строительного мусора и </a:t>
            </a:r>
            <a:r>
              <a:rPr lang="ru-RU" sz="1000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металлолома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000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Ведутся работы по бетонированию фундаментов кабельной эстакады</a:t>
            </a:r>
          </a:p>
          <a:p>
            <a:pPr algn="just">
              <a:spcBef>
                <a:spcPts val="100"/>
              </a:spcBef>
              <a:defRPr/>
            </a:pPr>
            <a:r>
              <a:rPr lang="ru-RU" sz="1000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Ведутся работы по водопонижению и </a:t>
            </a:r>
            <a:r>
              <a:rPr lang="ru-RU" sz="1000" dirty="0" err="1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осушиванию</a:t>
            </a:r>
            <a:r>
              <a:rPr lang="ru-RU" sz="1000" dirty="0" smtClean="0">
                <a:latin typeface="Century Gothic" panose="020B0502020202020204" pitchFamily="34" charset="0"/>
                <a:ea typeface="Times New Roman" pitchFamily="18" charset="0"/>
                <a:cs typeface="Arial" panose="020B0604020202020204" pitchFamily="34" charset="0"/>
              </a:rPr>
              <a:t> котлована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6311517" y="695268"/>
            <a:ext cx="5324" cy="614919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Прямоугольник 226"/>
          <p:cNvSpPr/>
          <p:nvPr/>
        </p:nvSpPr>
        <p:spPr>
          <a:xfrm>
            <a:off x="388048" y="702894"/>
            <a:ext cx="55876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СТРОИТЕЛЬСТВО ПЕЧИ УСТАНОВКИ ПРОИЗВОДСТВА БИТУМОВ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03" name="Прямоугольник 202"/>
          <p:cNvSpPr/>
          <p:nvPr/>
        </p:nvSpPr>
        <p:spPr>
          <a:xfrm>
            <a:off x="6299339" y="702894"/>
            <a:ext cx="60818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Tahoma" pitchFamily="34" charset="0"/>
                <a:cs typeface="Arial" panose="020B0604020202020204" pitchFamily="34" charset="0"/>
              </a:rPr>
              <a:t>«РЕКОНСТРУКЦИИ ПРОИЗВОДСТВА ГЛУБОКОЙ ПЕРЕРАБОТКИ НЕФТИ ДЛЯ ОБЕСПЕЧЕНИЯ НАДЕЖНОЙ И БЕЗАВАРИЙНОЙ РАБОТЫ»</a:t>
            </a:r>
            <a:endParaRPr lang="ru-RU" sz="1200" b="1" dirty="0">
              <a:solidFill>
                <a:srgbClr val="002060"/>
              </a:solidFill>
              <a:latin typeface="Century Gothic" panose="020B0502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0" name="Freeform 13"/>
          <p:cNvSpPr>
            <a:spLocks/>
          </p:cNvSpPr>
          <p:nvPr/>
        </p:nvSpPr>
        <p:spPr bwMode="auto">
          <a:xfrm>
            <a:off x="332540" y="2967709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13"/>
          <p:cNvSpPr>
            <a:spLocks/>
          </p:cNvSpPr>
          <p:nvPr/>
        </p:nvSpPr>
        <p:spPr bwMode="auto">
          <a:xfrm>
            <a:off x="315072" y="3493645"/>
            <a:ext cx="102812" cy="126069"/>
          </a:xfrm>
          <a:custGeom>
            <a:avLst/>
            <a:gdLst>
              <a:gd name="T0" fmla="*/ 29 w 96"/>
              <a:gd name="T1" fmla="*/ 125 h 125"/>
              <a:gd name="T2" fmla="*/ 96 w 96"/>
              <a:gd name="T3" fmla="*/ 125 h 125"/>
              <a:gd name="T4" fmla="*/ 85 w 96"/>
              <a:gd name="T5" fmla="*/ 101 h 125"/>
              <a:gd name="T6" fmla="*/ 50 w 96"/>
              <a:gd name="T7" fmla="*/ 75 h 125"/>
              <a:gd name="T8" fmla="*/ 66 w 96"/>
              <a:gd name="T9" fmla="*/ 42 h 125"/>
              <a:gd name="T10" fmla="*/ 33 w 96"/>
              <a:gd name="T11" fmla="*/ 0 h 125"/>
              <a:gd name="T12" fmla="*/ 0 w 96"/>
              <a:gd name="T13" fmla="*/ 39 h 125"/>
              <a:gd name="T14" fmla="*/ 16 w 96"/>
              <a:gd name="T15" fmla="*/ 74 h 125"/>
              <a:gd name="T16" fmla="*/ 9 w 96"/>
              <a:gd name="T17" fmla="*/ 89 h 125"/>
              <a:gd name="T18" fmla="*/ 27 w 96"/>
              <a:gd name="T19" fmla="*/ 104 h 125"/>
              <a:gd name="T20" fmla="*/ 29 w 96"/>
              <a:gd name="T21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125">
                <a:moveTo>
                  <a:pt x="29" y="125"/>
                </a:moveTo>
                <a:cubicBezTo>
                  <a:pt x="96" y="125"/>
                  <a:pt x="96" y="125"/>
                  <a:pt x="96" y="125"/>
                </a:cubicBezTo>
                <a:cubicBezTo>
                  <a:pt x="96" y="113"/>
                  <a:pt x="96" y="102"/>
                  <a:pt x="85" y="101"/>
                </a:cubicBezTo>
                <a:cubicBezTo>
                  <a:pt x="48" y="95"/>
                  <a:pt x="51" y="79"/>
                  <a:pt x="50" y="75"/>
                </a:cubicBezTo>
                <a:cubicBezTo>
                  <a:pt x="61" y="68"/>
                  <a:pt x="66" y="42"/>
                  <a:pt x="66" y="42"/>
                </a:cubicBezTo>
                <a:cubicBezTo>
                  <a:pt x="66" y="16"/>
                  <a:pt x="54" y="0"/>
                  <a:pt x="33" y="0"/>
                </a:cubicBezTo>
                <a:cubicBezTo>
                  <a:pt x="13" y="0"/>
                  <a:pt x="0" y="14"/>
                  <a:pt x="0" y="39"/>
                </a:cubicBezTo>
                <a:cubicBezTo>
                  <a:pt x="0" y="66"/>
                  <a:pt x="16" y="74"/>
                  <a:pt x="16" y="74"/>
                </a:cubicBezTo>
                <a:cubicBezTo>
                  <a:pt x="16" y="82"/>
                  <a:pt x="13" y="87"/>
                  <a:pt x="9" y="89"/>
                </a:cubicBezTo>
                <a:cubicBezTo>
                  <a:pt x="9" y="89"/>
                  <a:pt x="23" y="92"/>
                  <a:pt x="27" y="104"/>
                </a:cubicBezTo>
                <a:cubicBezTo>
                  <a:pt x="30" y="113"/>
                  <a:pt x="29" y="125"/>
                  <a:pt x="29" y="1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283" b="97283" l="9455" r="8798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031" t="14297" r="10951" b="2173"/>
          <a:stretch/>
        </p:blipFill>
        <p:spPr>
          <a:xfrm>
            <a:off x="5119300" y="5045336"/>
            <a:ext cx="1164554" cy="1803258"/>
          </a:xfrm>
          <a:prstGeom prst="rect">
            <a:avLst/>
          </a:prstGeom>
        </p:spPr>
      </p:pic>
      <p:sp>
        <p:nvSpPr>
          <p:cNvPr id="66" name="TextBox 65"/>
          <p:cNvSpPr txBox="1"/>
          <p:nvPr/>
        </p:nvSpPr>
        <p:spPr>
          <a:xfrm>
            <a:off x="6693650" y="1097017"/>
            <a:ext cx="5515405" cy="3195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10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Ь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А:</a:t>
            </a:r>
          </a:p>
          <a:p>
            <a:pPr fontAlgn="base">
              <a:spcBef>
                <a:spcPts val="100"/>
              </a:spcBef>
              <a:spcAft>
                <a:spcPts val="600"/>
              </a:spcAft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Обеспечение надежности эксплуатации установок ПГПН согласно отчетам по анализам надёжности производственных активов технологических установок С-100 и С-200 производства ГПН №3, сформированный системой </a:t>
            </a:r>
            <a:r>
              <a:rPr lang="en-US" sz="10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Meridium</a:t>
            </a:r>
            <a:r>
              <a:rPr lang="en-US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APM</a:t>
            </a:r>
            <a:endParaRPr lang="ru-RU" sz="1000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defRPr/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ОКИ РЕАЛИЗАЦИИ РАБОЧЕГО ПРОЕКТА:</a:t>
            </a:r>
            <a:endParaRPr lang="ru-RU" sz="1000" b="1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00"/>
              </a:spcBef>
              <a:spcAft>
                <a:spcPts val="600"/>
              </a:spcAft>
              <a:defRPr/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 квартал 2023 года</a:t>
            </a:r>
            <a:endParaRPr lang="ru-RU" sz="10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ЗРАБОТЧИК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БОЧЕГО ПРОЕКТА</a:t>
            </a: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algn="just">
              <a:spcBef>
                <a:spcPts val="100"/>
              </a:spcBef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ТОО «ЭОН </a:t>
            </a:r>
            <a:r>
              <a:rPr lang="ru-RU" sz="10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Энерго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  <a:p>
            <a:pPr algn="just">
              <a:spcBef>
                <a:spcPts val="100"/>
              </a:spcBef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ИЙ </a:t>
            </a:r>
            <a:r>
              <a:rPr lang="ru-RU" sz="10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ТАТУС: </a:t>
            </a:r>
          </a:p>
          <a:p>
            <a:pPr algn="just">
              <a:spcBef>
                <a:spcPts val="100"/>
              </a:spcBef>
            </a:pP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Разработка рабочей документации, процент завершения 34%</a:t>
            </a:r>
          </a:p>
          <a:p>
            <a:pPr algn="just">
              <a:spcBef>
                <a:spcPts val="100"/>
              </a:spcBef>
            </a:pP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Проведена сессия HAZOP, LOPA, SIL с подписанием протоколов;</a:t>
            </a:r>
          </a:p>
          <a:p>
            <a:pPr algn="just">
              <a:spcBef>
                <a:spcPts val="100"/>
              </a:spcBef>
            </a:pP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Проектировщику направлены замечания к топографической съемке;</a:t>
            </a:r>
          </a:p>
          <a:p>
            <a:pPr algn="just">
              <a:spcBef>
                <a:spcPts val="100"/>
              </a:spcBef>
            </a:pP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В адрес заказчика направлен запрос технический условий к подключению проектируемых трубопроводов;</a:t>
            </a:r>
          </a:p>
          <a:p>
            <a:pPr algn="just">
              <a:spcBef>
                <a:spcPts val="100"/>
              </a:spcBef>
            </a:pP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Заказчику направлены результаты технических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обследований;</a:t>
            </a:r>
            <a:endParaRPr lang="ru-RU" sz="10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На согласовании технологические схемы С-200 и 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-300.</a:t>
            </a:r>
            <a:endParaRPr lang="ru-RU" sz="10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00"/>
              </a:spcBef>
            </a:pPr>
            <a:endParaRPr lang="ru-RU" sz="10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6" t="3540" r="29404"/>
          <a:stretch/>
        </p:blipFill>
        <p:spPr>
          <a:xfrm>
            <a:off x="10910391" y="1746201"/>
            <a:ext cx="1133402" cy="1408427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85" name="Picture 2" descr="C:\Users\ERNAR\Desktop\Yerlan\uop_logo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4181" y="1821754"/>
            <a:ext cx="735026" cy="418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Рисунок 8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4" t="21856" r="4553" b="22827"/>
          <a:stretch/>
        </p:blipFill>
        <p:spPr>
          <a:xfrm>
            <a:off x="10144181" y="2289146"/>
            <a:ext cx="735026" cy="411003"/>
          </a:xfrm>
          <a:prstGeom prst="rect">
            <a:avLst/>
          </a:prstGeom>
        </p:spPr>
      </p:pic>
      <p:grpSp>
        <p:nvGrpSpPr>
          <p:cNvPr id="91" name="Группа 90"/>
          <p:cNvGrpSpPr/>
          <p:nvPr/>
        </p:nvGrpSpPr>
        <p:grpSpPr>
          <a:xfrm>
            <a:off x="93630" y="2709493"/>
            <a:ext cx="359605" cy="346070"/>
            <a:chOff x="65574" y="1903513"/>
            <a:chExt cx="253615" cy="252000"/>
          </a:xfrm>
        </p:grpSpPr>
        <p:sp>
          <p:nvSpPr>
            <p:cNvPr id="92" name="Овал 91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574" y="1903513"/>
              <a:ext cx="253615" cy="25200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93" name="Freeform 12"/>
            <p:cNvSpPr>
              <a:spLocks/>
            </p:cNvSpPr>
            <p:nvPr/>
          </p:nvSpPr>
          <p:spPr bwMode="auto">
            <a:xfrm>
              <a:off x="104664" y="1945179"/>
              <a:ext cx="113980" cy="153786"/>
            </a:xfrm>
            <a:custGeom>
              <a:avLst/>
              <a:gdLst>
                <a:gd name="T0" fmla="*/ 8 w 150"/>
                <a:gd name="T1" fmla="*/ 145 h 145"/>
                <a:gd name="T2" fmla="*/ 19 w 150"/>
                <a:gd name="T3" fmla="*/ 119 h 145"/>
                <a:gd name="T4" fmla="*/ 57 w 150"/>
                <a:gd name="T5" fmla="*/ 86 h 145"/>
                <a:gd name="T6" fmla="*/ 38 w 150"/>
                <a:gd name="T7" fmla="*/ 46 h 145"/>
                <a:gd name="T8" fmla="*/ 77 w 150"/>
                <a:gd name="T9" fmla="*/ 0 h 145"/>
                <a:gd name="T10" fmla="*/ 114 w 150"/>
                <a:gd name="T11" fmla="*/ 50 h 145"/>
                <a:gd name="T12" fmla="*/ 96 w 150"/>
                <a:gd name="T13" fmla="*/ 87 h 145"/>
                <a:gd name="T14" fmla="*/ 136 w 150"/>
                <a:gd name="T15" fmla="*/ 117 h 145"/>
                <a:gd name="T16" fmla="*/ 150 w 150"/>
                <a:gd name="T17" fmla="*/ 145 h 145"/>
                <a:gd name="T18" fmla="*/ 8 w 150"/>
                <a:gd name="T1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45">
                  <a:moveTo>
                    <a:pt x="8" y="145"/>
                  </a:moveTo>
                  <a:cubicBezTo>
                    <a:pt x="8" y="145"/>
                    <a:pt x="0" y="125"/>
                    <a:pt x="19" y="119"/>
                  </a:cubicBezTo>
                  <a:cubicBezTo>
                    <a:pt x="38" y="113"/>
                    <a:pt x="57" y="107"/>
                    <a:pt x="57" y="86"/>
                  </a:cubicBezTo>
                  <a:cubicBezTo>
                    <a:pt x="57" y="86"/>
                    <a:pt x="38" y="78"/>
                    <a:pt x="38" y="46"/>
                  </a:cubicBezTo>
                  <a:cubicBezTo>
                    <a:pt x="38" y="17"/>
                    <a:pt x="53" y="0"/>
                    <a:pt x="77" y="0"/>
                  </a:cubicBezTo>
                  <a:cubicBezTo>
                    <a:pt x="100" y="0"/>
                    <a:pt x="114" y="19"/>
                    <a:pt x="114" y="50"/>
                  </a:cubicBezTo>
                  <a:cubicBezTo>
                    <a:pt x="114" y="50"/>
                    <a:pt x="109" y="80"/>
                    <a:pt x="96" y="87"/>
                  </a:cubicBezTo>
                  <a:cubicBezTo>
                    <a:pt x="96" y="92"/>
                    <a:pt x="93" y="111"/>
                    <a:pt x="136" y="117"/>
                  </a:cubicBezTo>
                  <a:cubicBezTo>
                    <a:pt x="149" y="119"/>
                    <a:pt x="150" y="132"/>
                    <a:pt x="150" y="145"/>
                  </a:cubicBezTo>
                  <a:lnTo>
                    <a:pt x="8" y="1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3"/>
            <p:cNvSpPr>
              <a:spLocks/>
            </p:cNvSpPr>
            <p:nvPr/>
          </p:nvSpPr>
          <p:spPr bwMode="auto">
            <a:xfrm>
              <a:off x="200837" y="1974325"/>
              <a:ext cx="80497" cy="124640"/>
            </a:xfrm>
            <a:custGeom>
              <a:avLst/>
              <a:gdLst>
                <a:gd name="T0" fmla="*/ 29 w 96"/>
                <a:gd name="T1" fmla="*/ 125 h 125"/>
                <a:gd name="T2" fmla="*/ 96 w 96"/>
                <a:gd name="T3" fmla="*/ 125 h 125"/>
                <a:gd name="T4" fmla="*/ 85 w 96"/>
                <a:gd name="T5" fmla="*/ 101 h 125"/>
                <a:gd name="T6" fmla="*/ 50 w 96"/>
                <a:gd name="T7" fmla="*/ 75 h 125"/>
                <a:gd name="T8" fmla="*/ 66 w 96"/>
                <a:gd name="T9" fmla="*/ 42 h 125"/>
                <a:gd name="T10" fmla="*/ 33 w 96"/>
                <a:gd name="T11" fmla="*/ 0 h 125"/>
                <a:gd name="T12" fmla="*/ 0 w 96"/>
                <a:gd name="T13" fmla="*/ 39 h 125"/>
                <a:gd name="T14" fmla="*/ 16 w 96"/>
                <a:gd name="T15" fmla="*/ 74 h 125"/>
                <a:gd name="T16" fmla="*/ 9 w 96"/>
                <a:gd name="T17" fmla="*/ 89 h 125"/>
                <a:gd name="T18" fmla="*/ 27 w 96"/>
                <a:gd name="T19" fmla="*/ 104 h 125"/>
                <a:gd name="T20" fmla="*/ 29 w 96"/>
                <a:gd name="T21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25">
                  <a:moveTo>
                    <a:pt x="29" y="125"/>
                  </a:moveTo>
                  <a:cubicBezTo>
                    <a:pt x="96" y="125"/>
                    <a:pt x="96" y="125"/>
                    <a:pt x="96" y="125"/>
                  </a:cubicBezTo>
                  <a:cubicBezTo>
                    <a:pt x="96" y="113"/>
                    <a:pt x="96" y="102"/>
                    <a:pt x="85" y="101"/>
                  </a:cubicBezTo>
                  <a:cubicBezTo>
                    <a:pt x="48" y="95"/>
                    <a:pt x="51" y="79"/>
                    <a:pt x="50" y="75"/>
                  </a:cubicBezTo>
                  <a:cubicBezTo>
                    <a:pt x="61" y="68"/>
                    <a:pt x="66" y="42"/>
                    <a:pt x="66" y="42"/>
                  </a:cubicBezTo>
                  <a:cubicBezTo>
                    <a:pt x="66" y="16"/>
                    <a:pt x="54" y="0"/>
                    <a:pt x="33" y="0"/>
                  </a:cubicBezTo>
                  <a:cubicBezTo>
                    <a:pt x="13" y="0"/>
                    <a:pt x="0" y="14"/>
                    <a:pt x="0" y="39"/>
                  </a:cubicBezTo>
                  <a:cubicBezTo>
                    <a:pt x="0" y="66"/>
                    <a:pt x="16" y="74"/>
                    <a:pt x="16" y="74"/>
                  </a:cubicBezTo>
                  <a:cubicBezTo>
                    <a:pt x="16" y="82"/>
                    <a:pt x="13" y="87"/>
                    <a:pt x="9" y="89"/>
                  </a:cubicBezTo>
                  <a:cubicBezTo>
                    <a:pt x="9" y="89"/>
                    <a:pt x="23" y="92"/>
                    <a:pt x="27" y="104"/>
                  </a:cubicBezTo>
                  <a:cubicBezTo>
                    <a:pt x="30" y="113"/>
                    <a:pt x="29" y="125"/>
                    <a:pt x="29" y="1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Группа 94"/>
          <p:cNvGrpSpPr/>
          <p:nvPr/>
        </p:nvGrpSpPr>
        <p:grpSpPr>
          <a:xfrm>
            <a:off x="99101" y="1174511"/>
            <a:ext cx="359606" cy="348259"/>
            <a:chOff x="127056" y="1335864"/>
            <a:chExt cx="419286" cy="593693"/>
          </a:xfrm>
        </p:grpSpPr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27056" y="1335864"/>
              <a:ext cx="419286" cy="59369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97" name="Freeform 99"/>
            <p:cNvSpPr>
              <a:spLocks noEditPoints="1"/>
            </p:cNvSpPr>
            <p:nvPr/>
          </p:nvSpPr>
          <p:spPr bwMode="auto">
            <a:xfrm>
              <a:off x="197172" y="1433620"/>
              <a:ext cx="292599" cy="384688"/>
            </a:xfrm>
            <a:custGeom>
              <a:avLst/>
              <a:gdLst>
                <a:gd name="T0" fmla="*/ 0 w 714"/>
                <a:gd name="T1" fmla="*/ 357 h 715"/>
                <a:gd name="T2" fmla="*/ 714 w 714"/>
                <a:gd name="T3" fmla="*/ 357 h 715"/>
                <a:gd name="T4" fmla="*/ 357 w 714"/>
                <a:gd name="T5" fmla="*/ 14 h 715"/>
                <a:gd name="T6" fmla="*/ 357 w 714"/>
                <a:gd name="T7" fmla="*/ 701 h 715"/>
                <a:gd name="T8" fmla="*/ 357 w 714"/>
                <a:gd name="T9" fmla="*/ 14 h 715"/>
                <a:gd name="T10" fmla="*/ 272 w 714"/>
                <a:gd name="T11" fmla="*/ 358 h 715"/>
                <a:gd name="T12" fmla="*/ 442 w 714"/>
                <a:gd name="T13" fmla="*/ 358 h 715"/>
                <a:gd name="T14" fmla="*/ 357 w 714"/>
                <a:gd name="T15" fmla="*/ 287 h 715"/>
                <a:gd name="T16" fmla="*/ 357 w 714"/>
                <a:gd name="T17" fmla="*/ 428 h 715"/>
                <a:gd name="T18" fmla="*/ 357 w 714"/>
                <a:gd name="T19" fmla="*/ 287 h 715"/>
                <a:gd name="T20" fmla="*/ 364 w 714"/>
                <a:gd name="T21" fmla="*/ 7 h 715"/>
                <a:gd name="T22" fmla="*/ 350 w 714"/>
                <a:gd name="T23" fmla="*/ 7 h 715"/>
                <a:gd name="T24" fmla="*/ 357 w 714"/>
                <a:gd name="T25" fmla="*/ 111 h 715"/>
                <a:gd name="T26" fmla="*/ 364 w 714"/>
                <a:gd name="T27" fmla="*/ 708 h 715"/>
                <a:gd name="T28" fmla="*/ 357 w 714"/>
                <a:gd name="T29" fmla="*/ 604 h 715"/>
                <a:gd name="T30" fmla="*/ 350 w 714"/>
                <a:gd name="T31" fmla="*/ 708 h 715"/>
                <a:gd name="T32" fmla="*/ 364 w 714"/>
                <a:gd name="T33" fmla="*/ 708 h 715"/>
                <a:gd name="T34" fmla="*/ 707 w 714"/>
                <a:gd name="T35" fmla="*/ 351 h 715"/>
                <a:gd name="T36" fmla="*/ 603 w 714"/>
                <a:gd name="T37" fmla="*/ 358 h 715"/>
                <a:gd name="T38" fmla="*/ 707 w 714"/>
                <a:gd name="T39" fmla="*/ 365 h 715"/>
                <a:gd name="T40" fmla="*/ 111 w 714"/>
                <a:gd name="T41" fmla="*/ 358 h 715"/>
                <a:gd name="T42" fmla="*/ 7 w 714"/>
                <a:gd name="T43" fmla="*/ 351 h 715"/>
                <a:gd name="T44" fmla="*/ 7 w 714"/>
                <a:gd name="T45" fmla="*/ 365 h 715"/>
                <a:gd name="T46" fmla="*/ 111 w 714"/>
                <a:gd name="T47" fmla="*/ 358 h 715"/>
                <a:gd name="T48" fmla="*/ 364 w 714"/>
                <a:gd name="T49" fmla="*/ 249 h 715"/>
                <a:gd name="T50" fmla="*/ 350 w 714"/>
                <a:gd name="T51" fmla="*/ 249 h 715"/>
                <a:gd name="T52" fmla="*/ 357 w 714"/>
                <a:gd name="T53" fmla="*/ 286 h 715"/>
                <a:gd name="T54" fmla="*/ 364 w 714"/>
                <a:gd name="T55" fmla="*/ 466 h 715"/>
                <a:gd name="T56" fmla="*/ 357 w 714"/>
                <a:gd name="T57" fmla="*/ 429 h 715"/>
                <a:gd name="T58" fmla="*/ 350 w 714"/>
                <a:gd name="T59" fmla="*/ 466 h 715"/>
                <a:gd name="T60" fmla="*/ 364 w 714"/>
                <a:gd name="T61" fmla="*/ 466 h 715"/>
                <a:gd name="T62" fmla="*/ 466 w 714"/>
                <a:gd name="T63" fmla="*/ 351 h 715"/>
                <a:gd name="T64" fmla="*/ 429 w 714"/>
                <a:gd name="T65" fmla="*/ 358 h 715"/>
                <a:gd name="T66" fmla="*/ 466 w 714"/>
                <a:gd name="T67" fmla="*/ 365 h 715"/>
                <a:gd name="T68" fmla="*/ 286 w 714"/>
                <a:gd name="T69" fmla="*/ 358 h 715"/>
                <a:gd name="T70" fmla="*/ 249 w 714"/>
                <a:gd name="T71" fmla="*/ 351 h 715"/>
                <a:gd name="T72" fmla="*/ 249 w 714"/>
                <a:gd name="T73" fmla="*/ 365 h 715"/>
                <a:gd name="T74" fmla="*/ 286 w 714"/>
                <a:gd name="T75" fmla="*/ 358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4" h="715">
                  <a:moveTo>
                    <a:pt x="357" y="715"/>
                  </a:moveTo>
                  <a:cubicBezTo>
                    <a:pt x="160" y="715"/>
                    <a:pt x="0" y="554"/>
                    <a:pt x="0" y="357"/>
                  </a:cubicBezTo>
                  <a:cubicBezTo>
                    <a:pt x="0" y="161"/>
                    <a:pt x="160" y="0"/>
                    <a:pt x="357" y="0"/>
                  </a:cubicBezTo>
                  <a:cubicBezTo>
                    <a:pt x="554" y="0"/>
                    <a:pt x="714" y="161"/>
                    <a:pt x="714" y="357"/>
                  </a:cubicBezTo>
                  <a:cubicBezTo>
                    <a:pt x="714" y="554"/>
                    <a:pt x="554" y="715"/>
                    <a:pt x="357" y="715"/>
                  </a:cubicBezTo>
                  <a:close/>
                  <a:moveTo>
                    <a:pt x="357" y="14"/>
                  </a:moveTo>
                  <a:cubicBezTo>
                    <a:pt x="168" y="14"/>
                    <a:pt x="14" y="168"/>
                    <a:pt x="14" y="357"/>
                  </a:cubicBezTo>
                  <a:cubicBezTo>
                    <a:pt x="14" y="547"/>
                    <a:pt x="168" y="701"/>
                    <a:pt x="357" y="701"/>
                  </a:cubicBezTo>
                  <a:cubicBezTo>
                    <a:pt x="546" y="701"/>
                    <a:pt x="700" y="547"/>
                    <a:pt x="700" y="357"/>
                  </a:cubicBezTo>
                  <a:cubicBezTo>
                    <a:pt x="700" y="168"/>
                    <a:pt x="546" y="14"/>
                    <a:pt x="357" y="14"/>
                  </a:cubicBezTo>
                  <a:close/>
                  <a:moveTo>
                    <a:pt x="357" y="442"/>
                  </a:moveTo>
                  <a:cubicBezTo>
                    <a:pt x="310" y="442"/>
                    <a:pt x="272" y="404"/>
                    <a:pt x="272" y="358"/>
                  </a:cubicBezTo>
                  <a:cubicBezTo>
                    <a:pt x="272" y="311"/>
                    <a:pt x="310" y="273"/>
                    <a:pt x="357" y="273"/>
                  </a:cubicBezTo>
                  <a:cubicBezTo>
                    <a:pt x="404" y="273"/>
                    <a:pt x="442" y="311"/>
                    <a:pt x="442" y="358"/>
                  </a:cubicBezTo>
                  <a:cubicBezTo>
                    <a:pt x="442" y="404"/>
                    <a:pt x="404" y="442"/>
                    <a:pt x="357" y="442"/>
                  </a:cubicBezTo>
                  <a:close/>
                  <a:moveTo>
                    <a:pt x="357" y="287"/>
                  </a:moveTo>
                  <a:cubicBezTo>
                    <a:pt x="318" y="287"/>
                    <a:pt x="286" y="318"/>
                    <a:pt x="286" y="358"/>
                  </a:cubicBezTo>
                  <a:cubicBezTo>
                    <a:pt x="286" y="397"/>
                    <a:pt x="318" y="428"/>
                    <a:pt x="357" y="428"/>
                  </a:cubicBezTo>
                  <a:cubicBezTo>
                    <a:pt x="396" y="428"/>
                    <a:pt x="428" y="397"/>
                    <a:pt x="428" y="358"/>
                  </a:cubicBezTo>
                  <a:cubicBezTo>
                    <a:pt x="428" y="318"/>
                    <a:pt x="396" y="287"/>
                    <a:pt x="357" y="287"/>
                  </a:cubicBezTo>
                  <a:close/>
                  <a:moveTo>
                    <a:pt x="364" y="104"/>
                  </a:moveTo>
                  <a:cubicBezTo>
                    <a:pt x="364" y="7"/>
                    <a:pt x="364" y="7"/>
                    <a:pt x="364" y="7"/>
                  </a:cubicBezTo>
                  <a:cubicBezTo>
                    <a:pt x="364" y="4"/>
                    <a:pt x="361" y="0"/>
                    <a:pt x="357" y="0"/>
                  </a:cubicBezTo>
                  <a:cubicBezTo>
                    <a:pt x="353" y="0"/>
                    <a:pt x="350" y="4"/>
                    <a:pt x="350" y="7"/>
                  </a:cubicBezTo>
                  <a:cubicBezTo>
                    <a:pt x="350" y="104"/>
                    <a:pt x="350" y="104"/>
                    <a:pt x="350" y="104"/>
                  </a:cubicBezTo>
                  <a:cubicBezTo>
                    <a:pt x="350" y="108"/>
                    <a:pt x="353" y="111"/>
                    <a:pt x="357" y="111"/>
                  </a:cubicBezTo>
                  <a:cubicBezTo>
                    <a:pt x="361" y="111"/>
                    <a:pt x="364" y="108"/>
                    <a:pt x="364" y="104"/>
                  </a:cubicBezTo>
                  <a:close/>
                  <a:moveTo>
                    <a:pt x="364" y="708"/>
                  </a:moveTo>
                  <a:cubicBezTo>
                    <a:pt x="364" y="611"/>
                    <a:pt x="364" y="611"/>
                    <a:pt x="364" y="611"/>
                  </a:cubicBezTo>
                  <a:cubicBezTo>
                    <a:pt x="364" y="607"/>
                    <a:pt x="361" y="604"/>
                    <a:pt x="357" y="604"/>
                  </a:cubicBezTo>
                  <a:cubicBezTo>
                    <a:pt x="353" y="604"/>
                    <a:pt x="350" y="607"/>
                    <a:pt x="350" y="611"/>
                  </a:cubicBezTo>
                  <a:cubicBezTo>
                    <a:pt x="350" y="708"/>
                    <a:pt x="350" y="708"/>
                    <a:pt x="350" y="708"/>
                  </a:cubicBezTo>
                  <a:cubicBezTo>
                    <a:pt x="350" y="711"/>
                    <a:pt x="353" y="715"/>
                    <a:pt x="357" y="715"/>
                  </a:cubicBezTo>
                  <a:cubicBezTo>
                    <a:pt x="361" y="715"/>
                    <a:pt x="364" y="711"/>
                    <a:pt x="364" y="708"/>
                  </a:cubicBezTo>
                  <a:close/>
                  <a:moveTo>
                    <a:pt x="714" y="358"/>
                  </a:moveTo>
                  <a:cubicBezTo>
                    <a:pt x="714" y="354"/>
                    <a:pt x="711" y="351"/>
                    <a:pt x="707" y="351"/>
                  </a:cubicBezTo>
                  <a:cubicBezTo>
                    <a:pt x="610" y="351"/>
                    <a:pt x="610" y="351"/>
                    <a:pt x="610" y="351"/>
                  </a:cubicBezTo>
                  <a:cubicBezTo>
                    <a:pt x="606" y="351"/>
                    <a:pt x="603" y="354"/>
                    <a:pt x="603" y="358"/>
                  </a:cubicBezTo>
                  <a:cubicBezTo>
                    <a:pt x="603" y="361"/>
                    <a:pt x="606" y="365"/>
                    <a:pt x="610" y="365"/>
                  </a:cubicBezTo>
                  <a:cubicBezTo>
                    <a:pt x="707" y="365"/>
                    <a:pt x="707" y="365"/>
                    <a:pt x="707" y="365"/>
                  </a:cubicBezTo>
                  <a:cubicBezTo>
                    <a:pt x="711" y="365"/>
                    <a:pt x="714" y="361"/>
                    <a:pt x="714" y="358"/>
                  </a:cubicBezTo>
                  <a:close/>
                  <a:moveTo>
                    <a:pt x="111" y="358"/>
                  </a:moveTo>
                  <a:cubicBezTo>
                    <a:pt x="111" y="354"/>
                    <a:pt x="108" y="351"/>
                    <a:pt x="104" y="351"/>
                  </a:cubicBezTo>
                  <a:cubicBezTo>
                    <a:pt x="7" y="351"/>
                    <a:pt x="7" y="351"/>
                    <a:pt x="7" y="351"/>
                  </a:cubicBezTo>
                  <a:cubicBezTo>
                    <a:pt x="3" y="351"/>
                    <a:pt x="0" y="354"/>
                    <a:pt x="0" y="358"/>
                  </a:cubicBezTo>
                  <a:cubicBezTo>
                    <a:pt x="0" y="361"/>
                    <a:pt x="3" y="365"/>
                    <a:pt x="7" y="365"/>
                  </a:cubicBezTo>
                  <a:cubicBezTo>
                    <a:pt x="104" y="365"/>
                    <a:pt x="104" y="365"/>
                    <a:pt x="104" y="365"/>
                  </a:cubicBezTo>
                  <a:cubicBezTo>
                    <a:pt x="108" y="365"/>
                    <a:pt x="111" y="361"/>
                    <a:pt x="111" y="358"/>
                  </a:cubicBezTo>
                  <a:close/>
                  <a:moveTo>
                    <a:pt x="364" y="279"/>
                  </a:moveTo>
                  <a:cubicBezTo>
                    <a:pt x="364" y="249"/>
                    <a:pt x="364" y="249"/>
                    <a:pt x="364" y="249"/>
                  </a:cubicBezTo>
                  <a:cubicBezTo>
                    <a:pt x="364" y="245"/>
                    <a:pt x="361" y="242"/>
                    <a:pt x="357" y="242"/>
                  </a:cubicBezTo>
                  <a:cubicBezTo>
                    <a:pt x="353" y="242"/>
                    <a:pt x="350" y="245"/>
                    <a:pt x="350" y="24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350" y="283"/>
                    <a:pt x="353" y="286"/>
                    <a:pt x="357" y="286"/>
                  </a:cubicBezTo>
                  <a:cubicBezTo>
                    <a:pt x="361" y="286"/>
                    <a:pt x="364" y="283"/>
                    <a:pt x="364" y="279"/>
                  </a:cubicBezTo>
                  <a:close/>
                  <a:moveTo>
                    <a:pt x="364" y="466"/>
                  </a:moveTo>
                  <a:cubicBezTo>
                    <a:pt x="364" y="436"/>
                    <a:pt x="364" y="436"/>
                    <a:pt x="364" y="436"/>
                  </a:cubicBezTo>
                  <a:cubicBezTo>
                    <a:pt x="364" y="432"/>
                    <a:pt x="361" y="429"/>
                    <a:pt x="357" y="429"/>
                  </a:cubicBezTo>
                  <a:cubicBezTo>
                    <a:pt x="353" y="429"/>
                    <a:pt x="350" y="432"/>
                    <a:pt x="350" y="436"/>
                  </a:cubicBezTo>
                  <a:cubicBezTo>
                    <a:pt x="350" y="466"/>
                    <a:pt x="350" y="466"/>
                    <a:pt x="350" y="466"/>
                  </a:cubicBezTo>
                  <a:cubicBezTo>
                    <a:pt x="350" y="470"/>
                    <a:pt x="353" y="473"/>
                    <a:pt x="357" y="473"/>
                  </a:cubicBezTo>
                  <a:cubicBezTo>
                    <a:pt x="361" y="473"/>
                    <a:pt x="364" y="470"/>
                    <a:pt x="364" y="466"/>
                  </a:cubicBezTo>
                  <a:close/>
                  <a:moveTo>
                    <a:pt x="473" y="358"/>
                  </a:moveTo>
                  <a:cubicBezTo>
                    <a:pt x="473" y="354"/>
                    <a:pt x="470" y="351"/>
                    <a:pt x="466" y="351"/>
                  </a:cubicBezTo>
                  <a:cubicBezTo>
                    <a:pt x="436" y="351"/>
                    <a:pt x="436" y="351"/>
                    <a:pt x="436" y="351"/>
                  </a:cubicBezTo>
                  <a:cubicBezTo>
                    <a:pt x="432" y="351"/>
                    <a:pt x="429" y="354"/>
                    <a:pt x="429" y="358"/>
                  </a:cubicBezTo>
                  <a:cubicBezTo>
                    <a:pt x="429" y="361"/>
                    <a:pt x="432" y="365"/>
                    <a:pt x="436" y="365"/>
                  </a:cubicBezTo>
                  <a:cubicBezTo>
                    <a:pt x="466" y="365"/>
                    <a:pt x="466" y="365"/>
                    <a:pt x="466" y="365"/>
                  </a:cubicBezTo>
                  <a:cubicBezTo>
                    <a:pt x="470" y="365"/>
                    <a:pt x="473" y="361"/>
                    <a:pt x="473" y="358"/>
                  </a:cubicBezTo>
                  <a:close/>
                  <a:moveTo>
                    <a:pt x="286" y="358"/>
                  </a:moveTo>
                  <a:cubicBezTo>
                    <a:pt x="286" y="354"/>
                    <a:pt x="282" y="351"/>
                    <a:pt x="279" y="351"/>
                  </a:cubicBezTo>
                  <a:cubicBezTo>
                    <a:pt x="249" y="351"/>
                    <a:pt x="249" y="351"/>
                    <a:pt x="249" y="351"/>
                  </a:cubicBezTo>
                  <a:cubicBezTo>
                    <a:pt x="245" y="351"/>
                    <a:pt x="242" y="354"/>
                    <a:pt x="242" y="358"/>
                  </a:cubicBezTo>
                  <a:cubicBezTo>
                    <a:pt x="242" y="361"/>
                    <a:pt x="245" y="365"/>
                    <a:pt x="249" y="365"/>
                  </a:cubicBezTo>
                  <a:cubicBezTo>
                    <a:pt x="279" y="365"/>
                    <a:pt x="279" y="365"/>
                    <a:pt x="279" y="365"/>
                  </a:cubicBezTo>
                  <a:cubicBezTo>
                    <a:pt x="282" y="365"/>
                    <a:pt x="286" y="361"/>
                    <a:pt x="286" y="3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1" name="Группа 100"/>
          <p:cNvGrpSpPr/>
          <p:nvPr/>
        </p:nvGrpSpPr>
        <p:grpSpPr>
          <a:xfrm>
            <a:off x="99914" y="1664934"/>
            <a:ext cx="359605" cy="330126"/>
            <a:chOff x="56744" y="1268327"/>
            <a:chExt cx="253615" cy="252000"/>
          </a:xfrm>
        </p:grpSpPr>
        <p:sp>
          <p:nvSpPr>
            <p:cNvPr id="102" name="Овал 101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6744" y="1268327"/>
              <a:ext cx="253615" cy="25200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03" name="Freeform 98"/>
            <p:cNvSpPr>
              <a:spLocks noEditPoints="1"/>
            </p:cNvSpPr>
            <p:nvPr/>
          </p:nvSpPr>
          <p:spPr bwMode="auto">
            <a:xfrm>
              <a:off x="94311" y="1304327"/>
              <a:ext cx="180000" cy="180000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87924" y="2179865"/>
            <a:ext cx="359605" cy="357365"/>
            <a:chOff x="132557" y="2285583"/>
            <a:chExt cx="359605" cy="335305"/>
          </a:xfrm>
        </p:grpSpPr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57" name="Freeform 123"/>
            <p:cNvSpPr>
              <a:spLocks noEditPoints="1"/>
            </p:cNvSpPr>
            <p:nvPr/>
          </p:nvSpPr>
          <p:spPr bwMode="auto">
            <a:xfrm>
              <a:off x="172106" y="233866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87924" y="3203128"/>
            <a:ext cx="359605" cy="346070"/>
            <a:chOff x="65574" y="1903513"/>
            <a:chExt cx="253615" cy="252000"/>
          </a:xfrm>
        </p:grpSpPr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65574" y="1903513"/>
              <a:ext cx="253615" cy="25200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87" name="Freeform 12"/>
            <p:cNvSpPr>
              <a:spLocks/>
            </p:cNvSpPr>
            <p:nvPr/>
          </p:nvSpPr>
          <p:spPr bwMode="auto">
            <a:xfrm>
              <a:off x="104664" y="1945179"/>
              <a:ext cx="113980" cy="153786"/>
            </a:xfrm>
            <a:custGeom>
              <a:avLst/>
              <a:gdLst>
                <a:gd name="T0" fmla="*/ 8 w 150"/>
                <a:gd name="T1" fmla="*/ 145 h 145"/>
                <a:gd name="T2" fmla="*/ 19 w 150"/>
                <a:gd name="T3" fmla="*/ 119 h 145"/>
                <a:gd name="T4" fmla="*/ 57 w 150"/>
                <a:gd name="T5" fmla="*/ 86 h 145"/>
                <a:gd name="T6" fmla="*/ 38 w 150"/>
                <a:gd name="T7" fmla="*/ 46 h 145"/>
                <a:gd name="T8" fmla="*/ 77 w 150"/>
                <a:gd name="T9" fmla="*/ 0 h 145"/>
                <a:gd name="T10" fmla="*/ 114 w 150"/>
                <a:gd name="T11" fmla="*/ 50 h 145"/>
                <a:gd name="T12" fmla="*/ 96 w 150"/>
                <a:gd name="T13" fmla="*/ 87 h 145"/>
                <a:gd name="T14" fmla="*/ 136 w 150"/>
                <a:gd name="T15" fmla="*/ 117 h 145"/>
                <a:gd name="T16" fmla="*/ 150 w 150"/>
                <a:gd name="T17" fmla="*/ 145 h 145"/>
                <a:gd name="T18" fmla="*/ 8 w 150"/>
                <a:gd name="T1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45">
                  <a:moveTo>
                    <a:pt x="8" y="145"/>
                  </a:moveTo>
                  <a:cubicBezTo>
                    <a:pt x="8" y="145"/>
                    <a:pt x="0" y="125"/>
                    <a:pt x="19" y="119"/>
                  </a:cubicBezTo>
                  <a:cubicBezTo>
                    <a:pt x="38" y="113"/>
                    <a:pt x="57" y="107"/>
                    <a:pt x="57" y="86"/>
                  </a:cubicBezTo>
                  <a:cubicBezTo>
                    <a:pt x="57" y="86"/>
                    <a:pt x="38" y="78"/>
                    <a:pt x="38" y="46"/>
                  </a:cubicBezTo>
                  <a:cubicBezTo>
                    <a:pt x="38" y="17"/>
                    <a:pt x="53" y="0"/>
                    <a:pt x="77" y="0"/>
                  </a:cubicBezTo>
                  <a:cubicBezTo>
                    <a:pt x="100" y="0"/>
                    <a:pt x="114" y="19"/>
                    <a:pt x="114" y="50"/>
                  </a:cubicBezTo>
                  <a:cubicBezTo>
                    <a:pt x="114" y="50"/>
                    <a:pt x="109" y="80"/>
                    <a:pt x="96" y="87"/>
                  </a:cubicBezTo>
                  <a:cubicBezTo>
                    <a:pt x="96" y="92"/>
                    <a:pt x="93" y="111"/>
                    <a:pt x="136" y="117"/>
                  </a:cubicBezTo>
                  <a:cubicBezTo>
                    <a:pt x="149" y="119"/>
                    <a:pt x="150" y="132"/>
                    <a:pt x="150" y="145"/>
                  </a:cubicBezTo>
                  <a:lnTo>
                    <a:pt x="8" y="1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3"/>
            <p:cNvSpPr>
              <a:spLocks/>
            </p:cNvSpPr>
            <p:nvPr/>
          </p:nvSpPr>
          <p:spPr bwMode="auto">
            <a:xfrm>
              <a:off x="200837" y="1974325"/>
              <a:ext cx="80497" cy="124640"/>
            </a:xfrm>
            <a:custGeom>
              <a:avLst/>
              <a:gdLst>
                <a:gd name="T0" fmla="*/ 29 w 96"/>
                <a:gd name="T1" fmla="*/ 125 h 125"/>
                <a:gd name="T2" fmla="*/ 96 w 96"/>
                <a:gd name="T3" fmla="*/ 125 h 125"/>
                <a:gd name="T4" fmla="*/ 85 w 96"/>
                <a:gd name="T5" fmla="*/ 101 h 125"/>
                <a:gd name="T6" fmla="*/ 50 w 96"/>
                <a:gd name="T7" fmla="*/ 75 h 125"/>
                <a:gd name="T8" fmla="*/ 66 w 96"/>
                <a:gd name="T9" fmla="*/ 42 h 125"/>
                <a:gd name="T10" fmla="*/ 33 w 96"/>
                <a:gd name="T11" fmla="*/ 0 h 125"/>
                <a:gd name="T12" fmla="*/ 0 w 96"/>
                <a:gd name="T13" fmla="*/ 39 h 125"/>
                <a:gd name="T14" fmla="*/ 16 w 96"/>
                <a:gd name="T15" fmla="*/ 74 h 125"/>
                <a:gd name="T16" fmla="*/ 9 w 96"/>
                <a:gd name="T17" fmla="*/ 89 h 125"/>
                <a:gd name="T18" fmla="*/ 27 w 96"/>
                <a:gd name="T19" fmla="*/ 104 h 125"/>
                <a:gd name="T20" fmla="*/ 29 w 96"/>
                <a:gd name="T21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" h="125">
                  <a:moveTo>
                    <a:pt x="29" y="125"/>
                  </a:moveTo>
                  <a:cubicBezTo>
                    <a:pt x="96" y="125"/>
                    <a:pt x="96" y="125"/>
                    <a:pt x="96" y="125"/>
                  </a:cubicBezTo>
                  <a:cubicBezTo>
                    <a:pt x="96" y="113"/>
                    <a:pt x="96" y="102"/>
                    <a:pt x="85" y="101"/>
                  </a:cubicBezTo>
                  <a:cubicBezTo>
                    <a:pt x="48" y="95"/>
                    <a:pt x="51" y="79"/>
                    <a:pt x="50" y="75"/>
                  </a:cubicBezTo>
                  <a:cubicBezTo>
                    <a:pt x="61" y="68"/>
                    <a:pt x="66" y="42"/>
                    <a:pt x="66" y="42"/>
                  </a:cubicBezTo>
                  <a:cubicBezTo>
                    <a:pt x="66" y="16"/>
                    <a:pt x="54" y="0"/>
                    <a:pt x="33" y="0"/>
                  </a:cubicBezTo>
                  <a:cubicBezTo>
                    <a:pt x="13" y="0"/>
                    <a:pt x="0" y="14"/>
                    <a:pt x="0" y="39"/>
                  </a:cubicBezTo>
                  <a:cubicBezTo>
                    <a:pt x="0" y="66"/>
                    <a:pt x="16" y="74"/>
                    <a:pt x="16" y="74"/>
                  </a:cubicBezTo>
                  <a:cubicBezTo>
                    <a:pt x="16" y="82"/>
                    <a:pt x="13" y="87"/>
                    <a:pt x="9" y="89"/>
                  </a:cubicBezTo>
                  <a:cubicBezTo>
                    <a:pt x="9" y="89"/>
                    <a:pt x="23" y="92"/>
                    <a:pt x="27" y="104"/>
                  </a:cubicBezTo>
                  <a:cubicBezTo>
                    <a:pt x="30" y="113"/>
                    <a:pt x="29" y="125"/>
                    <a:pt x="29" y="1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90" name="Таблица 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2324397"/>
              </p:ext>
            </p:extLst>
          </p:nvPr>
        </p:nvGraphicFramePr>
        <p:xfrm>
          <a:off x="1029228" y="4714378"/>
          <a:ext cx="4227820" cy="20498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15828">
                  <a:extLst>
                    <a:ext uri="{9D8B030D-6E8A-4147-A177-3AD203B41FA5}">
                      <a16:colId xmlns:a16="http://schemas.microsoft.com/office/drawing/2014/main" val="954783847"/>
                    </a:ext>
                  </a:extLst>
                </a:gridCol>
                <a:gridCol w="2082699">
                  <a:extLst>
                    <a:ext uri="{9D8B030D-6E8A-4147-A177-3AD203B41FA5}">
                      <a16:colId xmlns:a16="http://schemas.microsoft.com/office/drawing/2014/main" val="2250776361"/>
                    </a:ext>
                  </a:extLst>
                </a:gridCol>
                <a:gridCol w="1029293">
                  <a:extLst>
                    <a:ext uri="{9D8B030D-6E8A-4147-A177-3AD203B41FA5}">
                      <a16:colId xmlns:a16="http://schemas.microsoft.com/office/drawing/2014/main" val="2283906973"/>
                    </a:ext>
                  </a:extLst>
                </a:gridCol>
              </a:tblGrid>
              <a:tr h="2462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Значение до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Segoe UI" panose="020B0502040204020203" pitchFamily="34" charset="0"/>
                        </a:rPr>
                        <a:t>Параметр 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Segoe UI" panose="020B0502040204020203" pitchFamily="34" charset="0"/>
                        </a:rPr>
                        <a:t>Значение после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2453646"/>
                  </a:ext>
                </a:extLst>
              </a:tr>
              <a:tr h="246277">
                <a:tc>
                  <a:txBody>
                    <a:bodyPr/>
                    <a:lstStyle/>
                    <a:p>
                      <a:pPr marL="0" indent="0" algn="ctr"/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Вертикальная,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 цилиндрическая</a:t>
                      </a:r>
                      <a:endParaRPr lang="ru-RU" sz="9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5725" indent="0" algn="ctr"/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Тип печи</a:t>
                      </a:r>
                      <a:endParaRPr lang="ru-RU" sz="9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Коробчатая,</a:t>
                      </a:r>
                    </a:p>
                    <a:p>
                      <a:pPr algn="ctr"/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двухсекционная</a:t>
                      </a:r>
                      <a:endParaRPr lang="ru-RU" sz="9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529314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85725" indent="0"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93 000/185 000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Segoe UI" panose="020B0502040204020203" pitchFamily="34" charset="0"/>
                        </a:rPr>
                        <a:t>Расход сырья, мин./</a:t>
                      </a:r>
                      <a:r>
                        <a:rPr lang="ru-RU" sz="900" b="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Segoe UI" panose="020B0502040204020203" pitchFamily="34" charset="0"/>
                        </a:rPr>
                        <a:t>макс.</a:t>
                      </a:r>
                      <a:r>
                        <a:rPr lang="ru-RU" sz="900" b="0" dirty="0" err="1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кг</a:t>
                      </a: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/час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Segoe UI" panose="020B0502040204020203" pitchFamily="34" charset="0"/>
                        </a:rPr>
                        <a:t>92 500/185 000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745239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85725" indent="0"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37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Полезная тепловая </a:t>
                      </a: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мощность, Гкал/час</a:t>
                      </a:r>
                      <a:endParaRPr lang="ru-RU" sz="9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Segoe UI" panose="020B0502040204020203" pitchFamily="34" charset="0"/>
                        </a:rPr>
                        <a:t>24,4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22544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85725" indent="0"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8/-</a:t>
                      </a:r>
                      <a:endParaRPr lang="ru-RU" sz="900" b="0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Количество горелок, основные/пилотные</a:t>
                      </a:r>
                      <a:endParaRPr lang="ru-RU" sz="9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12/12</a:t>
                      </a:r>
                      <a:endParaRPr lang="ru-RU" sz="900" b="0" dirty="0">
                        <a:solidFill>
                          <a:srgbClr val="00B05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96907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85725" indent="0"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4 000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Расход пара через пароперегреватель, кг/ч</a:t>
                      </a:r>
                      <a:endParaRPr lang="ru-RU" sz="9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3 600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325827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85725" indent="0"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-</a:t>
                      </a:r>
                      <a:endParaRPr lang="ru-RU" sz="900" b="0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Расход пара СД в калорифер, кг/час</a:t>
                      </a: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2 180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951553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85725" indent="0"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-</a:t>
                      </a:r>
                      <a:endParaRPr lang="ru-RU" sz="900" b="0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Расход воздуха на горение, кг/час</a:t>
                      </a: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46 060</a:t>
                      </a:r>
                      <a:endParaRPr lang="ru-RU" sz="900" b="0" dirty="0">
                        <a:solidFill>
                          <a:srgbClr val="00B05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64972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marL="85725" indent="0" algn="ctr"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FF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Segoe UI" panose="020B0502040204020203" pitchFamily="34" charset="0"/>
                        </a:rPr>
                        <a:t>82</a:t>
                      </a:r>
                      <a:endParaRPr lang="ru-RU" sz="900" b="1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9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КПД печи, с ВП/без ВП</a:t>
                      </a: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Segoe UI" panose="020B0502040204020203" pitchFamily="34" charset="0"/>
                        </a:rPr>
                        <a:t>*,%</a:t>
                      </a:r>
                      <a:endParaRPr lang="ru-RU" sz="9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Century Gothic" panose="020B0502020202020204" pitchFamily="34" charset="0"/>
                          <a:cs typeface="Segoe UI" panose="020B0502040204020203" pitchFamily="34" charset="0"/>
                        </a:rPr>
                        <a:t>91,72</a:t>
                      </a:r>
                      <a:r>
                        <a:rPr lang="ru-RU" sz="9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entury Gothic" panose="020B0502020202020204" pitchFamily="34" charset="0"/>
                          <a:cs typeface="Segoe UI" panose="020B0502040204020203" pitchFamily="34" charset="0"/>
                        </a:rPr>
                        <a:t>/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Segoe UI" panose="020B0502040204020203" pitchFamily="34" charset="0"/>
                        </a:rPr>
                        <a:t>82,0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Segoe UI" panose="020B0502040204020203" pitchFamily="34" charset="0"/>
                      </a:endParaRPr>
                    </a:p>
                  </a:txBody>
                  <a:tcPr marL="32593" marR="32593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5020873"/>
                  </a:ext>
                </a:extLst>
              </a:tr>
            </a:tbl>
          </a:graphicData>
        </a:graphic>
      </p:graphicFrame>
      <p:pic>
        <p:nvPicPr>
          <p:cNvPr id="108" name="Рисунок 107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00" b="98600" l="34649" r="6524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3784" t="463" r="34204" b="1197"/>
          <a:stretch/>
        </p:blipFill>
        <p:spPr>
          <a:xfrm>
            <a:off x="5778" y="4953382"/>
            <a:ext cx="1130677" cy="1801966"/>
          </a:xfrm>
          <a:prstGeom prst="rect">
            <a:avLst/>
          </a:prstGeom>
        </p:spPr>
      </p:pic>
      <p:sp>
        <p:nvSpPr>
          <p:cNvPr id="109" name="Прямоугольник 108"/>
          <p:cNvSpPr/>
          <p:nvPr/>
        </p:nvSpPr>
        <p:spPr>
          <a:xfrm>
            <a:off x="267727" y="4648739"/>
            <a:ext cx="100647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5086921" y="4612546"/>
            <a:ext cx="12645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ЛЕ</a:t>
            </a:r>
            <a:endParaRPr lang="ru-RU" sz="1200" dirty="0">
              <a:solidFill>
                <a:srgbClr val="002060"/>
              </a:solidFill>
            </a:endParaRPr>
          </a:p>
        </p:txBody>
      </p:sp>
      <p:grpSp>
        <p:nvGrpSpPr>
          <p:cNvPr id="117" name="Группа 116"/>
          <p:cNvGrpSpPr/>
          <p:nvPr/>
        </p:nvGrpSpPr>
        <p:grpSpPr>
          <a:xfrm>
            <a:off x="6382563" y="1139351"/>
            <a:ext cx="359606" cy="362277"/>
            <a:chOff x="127056" y="1335864"/>
            <a:chExt cx="419286" cy="593693"/>
          </a:xfrm>
        </p:grpSpPr>
        <p:sp>
          <p:nvSpPr>
            <p:cNvPr id="118" name="Овал 117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27056" y="1335864"/>
              <a:ext cx="419286" cy="593693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19" name="Freeform 99"/>
            <p:cNvSpPr>
              <a:spLocks noEditPoints="1"/>
            </p:cNvSpPr>
            <p:nvPr/>
          </p:nvSpPr>
          <p:spPr bwMode="auto">
            <a:xfrm>
              <a:off x="197172" y="1433620"/>
              <a:ext cx="292599" cy="384688"/>
            </a:xfrm>
            <a:custGeom>
              <a:avLst/>
              <a:gdLst>
                <a:gd name="T0" fmla="*/ 0 w 714"/>
                <a:gd name="T1" fmla="*/ 357 h 715"/>
                <a:gd name="T2" fmla="*/ 714 w 714"/>
                <a:gd name="T3" fmla="*/ 357 h 715"/>
                <a:gd name="T4" fmla="*/ 357 w 714"/>
                <a:gd name="T5" fmla="*/ 14 h 715"/>
                <a:gd name="T6" fmla="*/ 357 w 714"/>
                <a:gd name="T7" fmla="*/ 701 h 715"/>
                <a:gd name="T8" fmla="*/ 357 w 714"/>
                <a:gd name="T9" fmla="*/ 14 h 715"/>
                <a:gd name="T10" fmla="*/ 272 w 714"/>
                <a:gd name="T11" fmla="*/ 358 h 715"/>
                <a:gd name="T12" fmla="*/ 442 w 714"/>
                <a:gd name="T13" fmla="*/ 358 h 715"/>
                <a:gd name="T14" fmla="*/ 357 w 714"/>
                <a:gd name="T15" fmla="*/ 287 h 715"/>
                <a:gd name="T16" fmla="*/ 357 w 714"/>
                <a:gd name="T17" fmla="*/ 428 h 715"/>
                <a:gd name="T18" fmla="*/ 357 w 714"/>
                <a:gd name="T19" fmla="*/ 287 h 715"/>
                <a:gd name="T20" fmla="*/ 364 w 714"/>
                <a:gd name="T21" fmla="*/ 7 h 715"/>
                <a:gd name="T22" fmla="*/ 350 w 714"/>
                <a:gd name="T23" fmla="*/ 7 h 715"/>
                <a:gd name="T24" fmla="*/ 357 w 714"/>
                <a:gd name="T25" fmla="*/ 111 h 715"/>
                <a:gd name="T26" fmla="*/ 364 w 714"/>
                <a:gd name="T27" fmla="*/ 708 h 715"/>
                <a:gd name="T28" fmla="*/ 357 w 714"/>
                <a:gd name="T29" fmla="*/ 604 h 715"/>
                <a:gd name="T30" fmla="*/ 350 w 714"/>
                <a:gd name="T31" fmla="*/ 708 h 715"/>
                <a:gd name="T32" fmla="*/ 364 w 714"/>
                <a:gd name="T33" fmla="*/ 708 h 715"/>
                <a:gd name="T34" fmla="*/ 707 w 714"/>
                <a:gd name="T35" fmla="*/ 351 h 715"/>
                <a:gd name="T36" fmla="*/ 603 w 714"/>
                <a:gd name="T37" fmla="*/ 358 h 715"/>
                <a:gd name="T38" fmla="*/ 707 w 714"/>
                <a:gd name="T39" fmla="*/ 365 h 715"/>
                <a:gd name="T40" fmla="*/ 111 w 714"/>
                <a:gd name="T41" fmla="*/ 358 h 715"/>
                <a:gd name="T42" fmla="*/ 7 w 714"/>
                <a:gd name="T43" fmla="*/ 351 h 715"/>
                <a:gd name="T44" fmla="*/ 7 w 714"/>
                <a:gd name="T45" fmla="*/ 365 h 715"/>
                <a:gd name="T46" fmla="*/ 111 w 714"/>
                <a:gd name="T47" fmla="*/ 358 h 715"/>
                <a:gd name="T48" fmla="*/ 364 w 714"/>
                <a:gd name="T49" fmla="*/ 249 h 715"/>
                <a:gd name="T50" fmla="*/ 350 w 714"/>
                <a:gd name="T51" fmla="*/ 249 h 715"/>
                <a:gd name="T52" fmla="*/ 357 w 714"/>
                <a:gd name="T53" fmla="*/ 286 h 715"/>
                <a:gd name="T54" fmla="*/ 364 w 714"/>
                <a:gd name="T55" fmla="*/ 466 h 715"/>
                <a:gd name="T56" fmla="*/ 357 w 714"/>
                <a:gd name="T57" fmla="*/ 429 h 715"/>
                <a:gd name="T58" fmla="*/ 350 w 714"/>
                <a:gd name="T59" fmla="*/ 466 h 715"/>
                <a:gd name="T60" fmla="*/ 364 w 714"/>
                <a:gd name="T61" fmla="*/ 466 h 715"/>
                <a:gd name="T62" fmla="*/ 466 w 714"/>
                <a:gd name="T63" fmla="*/ 351 h 715"/>
                <a:gd name="T64" fmla="*/ 429 w 714"/>
                <a:gd name="T65" fmla="*/ 358 h 715"/>
                <a:gd name="T66" fmla="*/ 466 w 714"/>
                <a:gd name="T67" fmla="*/ 365 h 715"/>
                <a:gd name="T68" fmla="*/ 286 w 714"/>
                <a:gd name="T69" fmla="*/ 358 h 715"/>
                <a:gd name="T70" fmla="*/ 249 w 714"/>
                <a:gd name="T71" fmla="*/ 351 h 715"/>
                <a:gd name="T72" fmla="*/ 249 w 714"/>
                <a:gd name="T73" fmla="*/ 365 h 715"/>
                <a:gd name="T74" fmla="*/ 286 w 714"/>
                <a:gd name="T75" fmla="*/ 358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4" h="715">
                  <a:moveTo>
                    <a:pt x="357" y="715"/>
                  </a:moveTo>
                  <a:cubicBezTo>
                    <a:pt x="160" y="715"/>
                    <a:pt x="0" y="554"/>
                    <a:pt x="0" y="357"/>
                  </a:cubicBezTo>
                  <a:cubicBezTo>
                    <a:pt x="0" y="161"/>
                    <a:pt x="160" y="0"/>
                    <a:pt x="357" y="0"/>
                  </a:cubicBezTo>
                  <a:cubicBezTo>
                    <a:pt x="554" y="0"/>
                    <a:pt x="714" y="161"/>
                    <a:pt x="714" y="357"/>
                  </a:cubicBezTo>
                  <a:cubicBezTo>
                    <a:pt x="714" y="554"/>
                    <a:pt x="554" y="715"/>
                    <a:pt x="357" y="715"/>
                  </a:cubicBezTo>
                  <a:close/>
                  <a:moveTo>
                    <a:pt x="357" y="14"/>
                  </a:moveTo>
                  <a:cubicBezTo>
                    <a:pt x="168" y="14"/>
                    <a:pt x="14" y="168"/>
                    <a:pt x="14" y="357"/>
                  </a:cubicBezTo>
                  <a:cubicBezTo>
                    <a:pt x="14" y="547"/>
                    <a:pt x="168" y="701"/>
                    <a:pt x="357" y="701"/>
                  </a:cubicBezTo>
                  <a:cubicBezTo>
                    <a:pt x="546" y="701"/>
                    <a:pt x="700" y="547"/>
                    <a:pt x="700" y="357"/>
                  </a:cubicBezTo>
                  <a:cubicBezTo>
                    <a:pt x="700" y="168"/>
                    <a:pt x="546" y="14"/>
                    <a:pt x="357" y="14"/>
                  </a:cubicBezTo>
                  <a:close/>
                  <a:moveTo>
                    <a:pt x="357" y="442"/>
                  </a:moveTo>
                  <a:cubicBezTo>
                    <a:pt x="310" y="442"/>
                    <a:pt x="272" y="404"/>
                    <a:pt x="272" y="358"/>
                  </a:cubicBezTo>
                  <a:cubicBezTo>
                    <a:pt x="272" y="311"/>
                    <a:pt x="310" y="273"/>
                    <a:pt x="357" y="273"/>
                  </a:cubicBezTo>
                  <a:cubicBezTo>
                    <a:pt x="404" y="273"/>
                    <a:pt x="442" y="311"/>
                    <a:pt x="442" y="358"/>
                  </a:cubicBezTo>
                  <a:cubicBezTo>
                    <a:pt x="442" y="404"/>
                    <a:pt x="404" y="442"/>
                    <a:pt x="357" y="442"/>
                  </a:cubicBezTo>
                  <a:close/>
                  <a:moveTo>
                    <a:pt x="357" y="287"/>
                  </a:moveTo>
                  <a:cubicBezTo>
                    <a:pt x="318" y="287"/>
                    <a:pt x="286" y="318"/>
                    <a:pt x="286" y="358"/>
                  </a:cubicBezTo>
                  <a:cubicBezTo>
                    <a:pt x="286" y="397"/>
                    <a:pt x="318" y="428"/>
                    <a:pt x="357" y="428"/>
                  </a:cubicBezTo>
                  <a:cubicBezTo>
                    <a:pt x="396" y="428"/>
                    <a:pt x="428" y="397"/>
                    <a:pt x="428" y="358"/>
                  </a:cubicBezTo>
                  <a:cubicBezTo>
                    <a:pt x="428" y="318"/>
                    <a:pt x="396" y="287"/>
                    <a:pt x="357" y="287"/>
                  </a:cubicBezTo>
                  <a:close/>
                  <a:moveTo>
                    <a:pt x="364" y="104"/>
                  </a:moveTo>
                  <a:cubicBezTo>
                    <a:pt x="364" y="7"/>
                    <a:pt x="364" y="7"/>
                    <a:pt x="364" y="7"/>
                  </a:cubicBezTo>
                  <a:cubicBezTo>
                    <a:pt x="364" y="4"/>
                    <a:pt x="361" y="0"/>
                    <a:pt x="357" y="0"/>
                  </a:cubicBezTo>
                  <a:cubicBezTo>
                    <a:pt x="353" y="0"/>
                    <a:pt x="350" y="4"/>
                    <a:pt x="350" y="7"/>
                  </a:cubicBezTo>
                  <a:cubicBezTo>
                    <a:pt x="350" y="104"/>
                    <a:pt x="350" y="104"/>
                    <a:pt x="350" y="104"/>
                  </a:cubicBezTo>
                  <a:cubicBezTo>
                    <a:pt x="350" y="108"/>
                    <a:pt x="353" y="111"/>
                    <a:pt x="357" y="111"/>
                  </a:cubicBezTo>
                  <a:cubicBezTo>
                    <a:pt x="361" y="111"/>
                    <a:pt x="364" y="108"/>
                    <a:pt x="364" y="104"/>
                  </a:cubicBezTo>
                  <a:close/>
                  <a:moveTo>
                    <a:pt x="364" y="708"/>
                  </a:moveTo>
                  <a:cubicBezTo>
                    <a:pt x="364" y="611"/>
                    <a:pt x="364" y="611"/>
                    <a:pt x="364" y="611"/>
                  </a:cubicBezTo>
                  <a:cubicBezTo>
                    <a:pt x="364" y="607"/>
                    <a:pt x="361" y="604"/>
                    <a:pt x="357" y="604"/>
                  </a:cubicBezTo>
                  <a:cubicBezTo>
                    <a:pt x="353" y="604"/>
                    <a:pt x="350" y="607"/>
                    <a:pt x="350" y="611"/>
                  </a:cubicBezTo>
                  <a:cubicBezTo>
                    <a:pt x="350" y="708"/>
                    <a:pt x="350" y="708"/>
                    <a:pt x="350" y="708"/>
                  </a:cubicBezTo>
                  <a:cubicBezTo>
                    <a:pt x="350" y="711"/>
                    <a:pt x="353" y="715"/>
                    <a:pt x="357" y="715"/>
                  </a:cubicBezTo>
                  <a:cubicBezTo>
                    <a:pt x="361" y="715"/>
                    <a:pt x="364" y="711"/>
                    <a:pt x="364" y="708"/>
                  </a:cubicBezTo>
                  <a:close/>
                  <a:moveTo>
                    <a:pt x="714" y="358"/>
                  </a:moveTo>
                  <a:cubicBezTo>
                    <a:pt x="714" y="354"/>
                    <a:pt x="711" y="351"/>
                    <a:pt x="707" y="351"/>
                  </a:cubicBezTo>
                  <a:cubicBezTo>
                    <a:pt x="610" y="351"/>
                    <a:pt x="610" y="351"/>
                    <a:pt x="610" y="351"/>
                  </a:cubicBezTo>
                  <a:cubicBezTo>
                    <a:pt x="606" y="351"/>
                    <a:pt x="603" y="354"/>
                    <a:pt x="603" y="358"/>
                  </a:cubicBezTo>
                  <a:cubicBezTo>
                    <a:pt x="603" y="361"/>
                    <a:pt x="606" y="365"/>
                    <a:pt x="610" y="365"/>
                  </a:cubicBezTo>
                  <a:cubicBezTo>
                    <a:pt x="707" y="365"/>
                    <a:pt x="707" y="365"/>
                    <a:pt x="707" y="365"/>
                  </a:cubicBezTo>
                  <a:cubicBezTo>
                    <a:pt x="711" y="365"/>
                    <a:pt x="714" y="361"/>
                    <a:pt x="714" y="358"/>
                  </a:cubicBezTo>
                  <a:close/>
                  <a:moveTo>
                    <a:pt x="111" y="358"/>
                  </a:moveTo>
                  <a:cubicBezTo>
                    <a:pt x="111" y="354"/>
                    <a:pt x="108" y="351"/>
                    <a:pt x="104" y="351"/>
                  </a:cubicBezTo>
                  <a:cubicBezTo>
                    <a:pt x="7" y="351"/>
                    <a:pt x="7" y="351"/>
                    <a:pt x="7" y="351"/>
                  </a:cubicBezTo>
                  <a:cubicBezTo>
                    <a:pt x="3" y="351"/>
                    <a:pt x="0" y="354"/>
                    <a:pt x="0" y="358"/>
                  </a:cubicBezTo>
                  <a:cubicBezTo>
                    <a:pt x="0" y="361"/>
                    <a:pt x="3" y="365"/>
                    <a:pt x="7" y="365"/>
                  </a:cubicBezTo>
                  <a:cubicBezTo>
                    <a:pt x="104" y="365"/>
                    <a:pt x="104" y="365"/>
                    <a:pt x="104" y="365"/>
                  </a:cubicBezTo>
                  <a:cubicBezTo>
                    <a:pt x="108" y="365"/>
                    <a:pt x="111" y="361"/>
                    <a:pt x="111" y="358"/>
                  </a:cubicBezTo>
                  <a:close/>
                  <a:moveTo>
                    <a:pt x="364" y="279"/>
                  </a:moveTo>
                  <a:cubicBezTo>
                    <a:pt x="364" y="249"/>
                    <a:pt x="364" y="249"/>
                    <a:pt x="364" y="249"/>
                  </a:cubicBezTo>
                  <a:cubicBezTo>
                    <a:pt x="364" y="245"/>
                    <a:pt x="361" y="242"/>
                    <a:pt x="357" y="242"/>
                  </a:cubicBezTo>
                  <a:cubicBezTo>
                    <a:pt x="353" y="242"/>
                    <a:pt x="350" y="245"/>
                    <a:pt x="350" y="249"/>
                  </a:cubicBezTo>
                  <a:cubicBezTo>
                    <a:pt x="350" y="279"/>
                    <a:pt x="350" y="279"/>
                    <a:pt x="350" y="279"/>
                  </a:cubicBezTo>
                  <a:cubicBezTo>
                    <a:pt x="350" y="283"/>
                    <a:pt x="353" y="286"/>
                    <a:pt x="357" y="286"/>
                  </a:cubicBezTo>
                  <a:cubicBezTo>
                    <a:pt x="361" y="286"/>
                    <a:pt x="364" y="283"/>
                    <a:pt x="364" y="279"/>
                  </a:cubicBezTo>
                  <a:close/>
                  <a:moveTo>
                    <a:pt x="364" y="466"/>
                  </a:moveTo>
                  <a:cubicBezTo>
                    <a:pt x="364" y="436"/>
                    <a:pt x="364" y="436"/>
                    <a:pt x="364" y="436"/>
                  </a:cubicBezTo>
                  <a:cubicBezTo>
                    <a:pt x="364" y="432"/>
                    <a:pt x="361" y="429"/>
                    <a:pt x="357" y="429"/>
                  </a:cubicBezTo>
                  <a:cubicBezTo>
                    <a:pt x="353" y="429"/>
                    <a:pt x="350" y="432"/>
                    <a:pt x="350" y="436"/>
                  </a:cubicBezTo>
                  <a:cubicBezTo>
                    <a:pt x="350" y="466"/>
                    <a:pt x="350" y="466"/>
                    <a:pt x="350" y="466"/>
                  </a:cubicBezTo>
                  <a:cubicBezTo>
                    <a:pt x="350" y="470"/>
                    <a:pt x="353" y="473"/>
                    <a:pt x="357" y="473"/>
                  </a:cubicBezTo>
                  <a:cubicBezTo>
                    <a:pt x="361" y="473"/>
                    <a:pt x="364" y="470"/>
                    <a:pt x="364" y="466"/>
                  </a:cubicBezTo>
                  <a:close/>
                  <a:moveTo>
                    <a:pt x="473" y="358"/>
                  </a:moveTo>
                  <a:cubicBezTo>
                    <a:pt x="473" y="354"/>
                    <a:pt x="470" y="351"/>
                    <a:pt x="466" y="351"/>
                  </a:cubicBezTo>
                  <a:cubicBezTo>
                    <a:pt x="436" y="351"/>
                    <a:pt x="436" y="351"/>
                    <a:pt x="436" y="351"/>
                  </a:cubicBezTo>
                  <a:cubicBezTo>
                    <a:pt x="432" y="351"/>
                    <a:pt x="429" y="354"/>
                    <a:pt x="429" y="358"/>
                  </a:cubicBezTo>
                  <a:cubicBezTo>
                    <a:pt x="429" y="361"/>
                    <a:pt x="432" y="365"/>
                    <a:pt x="436" y="365"/>
                  </a:cubicBezTo>
                  <a:cubicBezTo>
                    <a:pt x="466" y="365"/>
                    <a:pt x="466" y="365"/>
                    <a:pt x="466" y="365"/>
                  </a:cubicBezTo>
                  <a:cubicBezTo>
                    <a:pt x="470" y="365"/>
                    <a:pt x="473" y="361"/>
                    <a:pt x="473" y="358"/>
                  </a:cubicBezTo>
                  <a:close/>
                  <a:moveTo>
                    <a:pt x="286" y="358"/>
                  </a:moveTo>
                  <a:cubicBezTo>
                    <a:pt x="286" y="354"/>
                    <a:pt x="282" y="351"/>
                    <a:pt x="279" y="351"/>
                  </a:cubicBezTo>
                  <a:cubicBezTo>
                    <a:pt x="249" y="351"/>
                    <a:pt x="249" y="351"/>
                    <a:pt x="249" y="351"/>
                  </a:cubicBezTo>
                  <a:cubicBezTo>
                    <a:pt x="245" y="351"/>
                    <a:pt x="242" y="354"/>
                    <a:pt x="242" y="358"/>
                  </a:cubicBezTo>
                  <a:cubicBezTo>
                    <a:pt x="242" y="361"/>
                    <a:pt x="245" y="365"/>
                    <a:pt x="249" y="365"/>
                  </a:cubicBezTo>
                  <a:cubicBezTo>
                    <a:pt x="279" y="365"/>
                    <a:pt x="279" y="365"/>
                    <a:pt x="279" y="365"/>
                  </a:cubicBezTo>
                  <a:cubicBezTo>
                    <a:pt x="282" y="365"/>
                    <a:pt x="286" y="361"/>
                    <a:pt x="286" y="3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3" name="Группа 122"/>
          <p:cNvGrpSpPr/>
          <p:nvPr/>
        </p:nvGrpSpPr>
        <p:grpSpPr>
          <a:xfrm>
            <a:off x="6390971" y="1794012"/>
            <a:ext cx="359605" cy="343414"/>
            <a:chOff x="56744" y="1268327"/>
            <a:chExt cx="253615" cy="252000"/>
          </a:xfrm>
        </p:grpSpPr>
        <p:sp>
          <p:nvSpPr>
            <p:cNvPr id="124" name="Овал 123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6744" y="1268327"/>
              <a:ext cx="253615" cy="25200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25" name="Freeform 98"/>
            <p:cNvSpPr>
              <a:spLocks noEditPoints="1"/>
            </p:cNvSpPr>
            <p:nvPr/>
          </p:nvSpPr>
          <p:spPr bwMode="auto">
            <a:xfrm>
              <a:off x="94311" y="1304327"/>
              <a:ext cx="180000" cy="180000"/>
            </a:xfrm>
            <a:custGeom>
              <a:avLst/>
              <a:gdLst>
                <a:gd name="T0" fmla="*/ 486 w 714"/>
                <a:gd name="T1" fmla="*/ 214 h 715"/>
                <a:gd name="T2" fmla="*/ 375 w 714"/>
                <a:gd name="T3" fmla="*/ 329 h 715"/>
                <a:gd name="T4" fmla="*/ 357 w 714"/>
                <a:gd name="T5" fmla="*/ 324 h 715"/>
                <a:gd name="T6" fmla="*/ 342 w 714"/>
                <a:gd name="T7" fmla="*/ 327 h 715"/>
                <a:gd name="T8" fmla="*/ 183 w 714"/>
                <a:gd name="T9" fmla="*/ 124 h 715"/>
                <a:gd name="T10" fmla="*/ 173 w 714"/>
                <a:gd name="T11" fmla="*/ 123 h 715"/>
                <a:gd name="T12" fmla="*/ 172 w 714"/>
                <a:gd name="T13" fmla="*/ 133 h 715"/>
                <a:gd name="T14" fmla="*/ 331 w 714"/>
                <a:gd name="T15" fmla="*/ 336 h 715"/>
                <a:gd name="T16" fmla="*/ 323 w 714"/>
                <a:gd name="T17" fmla="*/ 358 h 715"/>
                <a:gd name="T18" fmla="*/ 357 w 714"/>
                <a:gd name="T19" fmla="*/ 391 h 715"/>
                <a:gd name="T20" fmla="*/ 390 w 714"/>
                <a:gd name="T21" fmla="*/ 358 h 715"/>
                <a:gd name="T22" fmla="*/ 385 w 714"/>
                <a:gd name="T23" fmla="*/ 339 h 715"/>
                <a:gd name="T24" fmla="*/ 496 w 714"/>
                <a:gd name="T25" fmla="*/ 223 h 715"/>
                <a:gd name="T26" fmla="*/ 496 w 714"/>
                <a:gd name="T27" fmla="*/ 213 h 715"/>
                <a:gd name="T28" fmla="*/ 486 w 714"/>
                <a:gd name="T29" fmla="*/ 214 h 715"/>
                <a:gd name="T30" fmla="*/ 357 w 714"/>
                <a:gd name="T31" fmla="*/ 377 h 715"/>
                <a:gd name="T32" fmla="*/ 337 w 714"/>
                <a:gd name="T33" fmla="*/ 358 h 715"/>
                <a:gd name="T34" fmla="*/ 357 w 714"/>
                <a:gd name="T35" fmla="*/ 338 h 715"/>
                <a:gd name="T36" fmla="*/ 376 w 714"/>
                <a:gd name="T37" fmla="*/ 358 h 715"/>
                <a:gd name="T38" fmla="*/ 357 w 714"/>
                <a:gd name="T39" fmla="*/ 377 h 715"/>
                <a:gd name="T40" fmla="*/ 714 w 714"/>
                <a:gd name="T41" fmla="*/ 358 h 715"/>
                <a:gd name="T42" fmla="*/ 714 w 714"/>
                <a:gd name="T43" fmla="*/ 358 h 715"/>
                <a:gd name="T44" fmla="*/ 357 w 714"/>
                <a:gd name="T45" fmla="*/ 0 h 715"/>
                <a:gd name="T46" fmla="*/ 357 w 714"/>
                <a:gd name="T47" fmla="*/ 0 h 715"/>
                <a:gd name="T48" fmla="*/ 357 w 714"/>
                <a:gd name="T49" fmla="*/ 0 h 715"/>
                <a:gd name="T50" fmla="*/ 357 w 714"/>
                <a:gd name="T51" fmla="*/ 0 h 715"/>
                <a:gd name="T52" fmla="*/ 0 w 714"/>
                <a:gd name="T53" fmla="*/ 358 h 715"/>
                <a:gd name="T54" fmla="*/ 0 w 714"/>
                <a:gd name="T55" fmla="*/ 358 h 715"/>
                <a:gd name="T56" fmla="*/ 0 w 714"/>
                <a:gd name="T57" fmla="*/ 358 h 715"/>
                <a:gd name="T58" fmla="*/ 0 w 714"/>
                <a:gd name="T59" fmla="*/ 358 h 715"/>
                <a:gd name="T60" fmla="*/ 357 w 714"/>
                <a:gd name="T61" fmla="*/ 715 h 715"/>
                <a:gd name="T62" fmla="*/ 357 w 714"/>
                <a:gd name="T63" fmla="*/ 715 h 715"/>
                <a:gd name="T64" fmla="*/ 357 w 714"/>
                <a:gd name="T65" fmla="*/ 715 h 715"/>
                <a:gd name="T66" fmla="*/ 357 w 714"/>
                <a:gd name="T67" fmla="*/ 715 h 715"/>
                <a:gd name="T68" fmla="*/ 714 w 714"/>
                <a:gd name="T69" fmla="*/ 358 h 715"/>
                <a:gd name="T70" fmla="*/ 714 w 714"/>
                <a:gd name="T71" fmla="*/ 358 h 715"/>
                <a:gd name="T72" fmla="*/ 364 w 714"/>
                <a:gd name="T73" fmla="*/ 700 h 715"/>
                <a:gd name="T74" fmla="*/ 364 w 714"/>
                <a:gd name="T75" fmla="*/ 662 h 715"/>
                <a:gd name="T76" fmla="*/ 357 w 714"/>
                <a:gd name="T77" fmla="*/ 655 h 715"/>
                <a:gd name="T78" fmla="*/ 350 w 714"/>
                <a:gd name="T79" fmla="*/ 662 h 715"/>
                <a:gd name="T80" fmla="*/ 350 w 714"/>
                <a:gd name="T81" fmla="*/ 700 h 715"/>
                <a:gd name="T82" fmla="*/ 14 w 714"/>
                <a:gd name="T83" fmla="*/ 365 h 715"/>
                <a:gd name="T84" fmla="*/ 52 w 714"/>
                <a:gd name="T85" fmla="*/ 365 h 715"/>
                <a:gd name="T86" fmla="*/ 59 w 714"/>
                <a:gd name="T87" fmla="*/ 358 h 715"/>
                <a:gd name="T88" fmla="*/ 52 w 714"/>
                <a:gd name="T89" fmla="*/ 351 h 715"/>
                <a:gd name="T90" fmla="*/ 14 w 714"/>
                <a:gd name="T91" fmla="*/ 351 h 715"/>
                <a:gd name="T92" fmla="*/ 350 w 714"/>
                <a:gd name="T93" fmla="*/ 15 h 715"/>
                <a:gd name="T94" fmla="*/ 350 w 714"/>
                <a:gd name="T95" fmla="*/ 53 h 715"/>
                <a:gd name="T96" fmla="*/ 357 w 714"/>
                <a:gd name="T97" fmla="*/ 60 h 715"/>
                <a:gd name="T98" fmla="*/ 364 w 714"/>
                <a:gd name="T99" fmla="*/ 53 h 715"/>
                <a:gd name="T100" fmla="*/ 364 w 714"/>
                <a:gd name="T101" fmla="*/ 15 h 715"/>
                <a:gd name="T102" fmla="*/ 699 w 714"/>
                <a:gd name="T103" fmla="*/ 351 h 715"/>
                <a:gd name="T104" fmla="*/ 661 w 714"/>
                <a:gd name="T105" fmla="*/ 351 h 715"/>
                <a:gd name="T106" fmla="*/ 654 w 714"/>
                <a:gd name="T107" fmla="*/ 358 h 715"/>
                <a:gd name="T108" fmla="*/ 661 w 714"/>
                <a:gd name="T109" fmla="*/ 365 h 715"/>
                <a:gd name="T110" fmla="*/ 699 w 714"/>
                <a:gd name="T111" fmla="*/ 365 h 715"/>
                <a:gd name="T112" fmla="*/ 364 w 714"/>
                <a:gd name="T113" fmla="*/ 700 h 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4" h="715">
                  <a:moveTo>
                    <a:pt x="486" y="214"/>
                  </a:moveTo>
                  <a:cubicBezTo>
                    <a:pt x="375" y="329"/>
                    <a:pt x="375" y="329"/>
                    <a:pt x="375" y="329"/>
                  </a:cubicBezTo>
                  <a:cubicBezTo>
                    <a:pt x="369" y="326"/>
                    <a:pt x="363" y="324"/>
                    <a:pt x="357" y="324"/>
                  </a:cubicBezTo>
                  <a:cubicBezTo>
                    <a:pt x="351" y="324"/>
                    <a:pt x="346" y="325"/>
                    <a:pt x="342" y="327"/>
                  </a:cubicBezTo>
                  <a:cubicBezTo>
                    <a:pt x="183" y="124"/>
                    <a:pt x="183" y="124"/>
                    <a:pt x="183" y="124"/>
                  </a:cubicBezTo>
                  <a:cubicBezTo>
                    <a:pt x="180" y="121"/>
                    <a:pt x="176" y="121"/>
                    <a:pt x="173" y="123"/>
                  </a:cubicBezTo>
                  <a:cubicBezTo>
                    <a:pt x="170" y="126"/>
                    <a:pt x="169" y="130"/>
                    <a:pt x="172" y="133"/>
                  </a:cubicBezTo>
                  <a:cubicBezTo>
                    <a:pt x="331" y="336"/>
                    <a:pt x="331" y="336"/>
                    <a:pt x="331" y="336"/>
                  </a:cubicBezTo>
                  <a:cubicBezTo>
                    <a:pt x="326" y="342"/>
                    <a:pt x="323" y="349"/>
                    <a:pt x="323" y="358"/>
                  </a:cubicBezTo>
                  <a:cubicBezTo>
                    <a:pt x="323" y="376"/>
                    <a:pt x="338" y="391"/>
                    <a:pt x="357" y="391"/>
                  </a:cubicBezTo>
                  <a:cubicBezTo>
                    <a:pt x="375" y="391"/>
                    <a:pt x="390" y="376"/>
                    <a:pt x="390" y="358"/>
                  </a:cubicBezTo>
                  <a:cubicBezTo>
                    <a:pt x="390" y="351"/>
                    <a:pt x="388" y="344"/>
                    <a:pt x="385" y="339"/>
                  </a:cubicBezTo>
                  <a:cubicBezTo>
                    <a:pt x="496" y="223"/>
                    <a:pt x="496" y="223"/>
                    <a:pt x="496" y="223"/>
                  </a:cubicBezTo>
                  <a:cubicBezTo>
                    <a:pt x="499" y="220"/>
                    <a:pt x="499" y="216"/>
                    <a:pt x="496" y="213"/>
                  </a:cubicBezTo>
                  <a:cubicBezTo>
                    <a:pt x="493" y="211"/>
                    <a:pt x="489" y="211"/>
                    <a:pt x="486" y="214"/>
                  </a:cubicBezTo>
                  <a:close/>
                  <a:moveTo>
                    <a:pt x="357" y="377"/>
                  </a:moveTo>
                  <a:cubicBezTo>
                    <a:pt x="346" y="377"/>
                    <a:pt x="337" y="368"/>
                    <a:pt x="337" y="358"/>
                  </a:cubicBezTo>
                  <a:cubicBezTo>
                    <a:pt x="337" y="347"/>
                    <a:pt x="346" y="338"/>
                    <a:pt x="357" y="338"/>
                  </a:cubicBezTo>
                  <a:cubicBezTo>
                    <a:pt x="368" y="338"/>
                    <a:pt x="376" y="347"/>
                    <a:pt x="376" y="358"/>
                  </a:cubicBezTo>
                  <a:cubicBezTo>
                    <a:pt x="376" y="368"/>
                    <a:pt x="368" y="377"/>
                    <a:pt x="357" y="377"/>
                  </a:cubicBezTo>
                  <a:close/>
                  <a:moveTo>
                    <a:pt x="714" y="358"/>
                  </a:moveTo>
                  <a:cubicBezTo>
                    <a:pt x="714" y="358"/>
                    <a:pt x="714" y="358"/>
                    <a:pt x="714" y="358"/>
                  </a:cubicBezTo>
                  <a:cubicBezTo>
                    <a:pt x="714" y="161"/>
                    <a:pt x="553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160" y="0"/>
                    <a:pt x="0" y="161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554"/>
                    <a:pt x="160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357" y="715"/>
                    <a:pt x="357" y="715"/>
                    <a:pt x="357" y="715"/>
                  </a:cubicBezTo>
                  <a:cubicBezTo>
                    <a:pt x="553" y="715"/>
                    <a:pt x="714" y="554"/>
                    <a:pt x="714" y="358"/>
                  </a:cubicBezTo>
                  <a:cubicBezTo>
                    <a:pt x="714" y="358"/>
                    <a:pt x="714" y="358"/>
                    <a:pt x="714" y="358"/>
                  </a:cubicBezTo>
                  <a:close/>
                  <a:moveTo>
                    <a:pt x="364" y="700"/>
                  </a:moveTo>
                  <a:cubicBezTo>
                    <a:pt x="364" y="662"/>
                    <a:pt x="364" y="662"/>
                    <a:pt x="364" y="662"/>
                  </a:cubicBezTo>
                  <a:cubicBezTo>
                    <a:pt x="364" y="658"/>
                    <a:pt x="360" y="655"/>
                    <a:pt x="357" y="655"/>
                  </a:cubicBezTo>
                  <a:cubicBezTo>
                    <a:pt x="353" y="655"/>
                    <a:pt x="350" y="658"/>
                    <a:pt x="350" y="662"/>
                  </a:cubicBezTo>
                  <a:cubicBezTo>
                    <a:pt x="350" y="700"/>
                    <a:pt x="350" y="700"/>
                    <a:pt x="350" y="700"/>
                  </a:cubicBezTo>
                  <a:cubicBezTo>
                    <a:pt x="166" y="697"/>
                    <a:pt x="17" y="548"/>
                    <a:pt x="14" y="365"/>
                  </a:cubicBezTo>
                  <a:cubicBezTo>
                    <a:pt x="52" y="365"/>
                    <a:pt x="52" y="365"/>
                    <a:pt x="52" y="365"/>
                  </a:cubicBezTo>
                  <a:cubicBezTo>
                    <a:pt x="56" y="365"/>
                    <a:pt x="59" y="361"/>
                    <a:pt x="59" y="358"/>
                  </a:cubicBezTo>
                  <a:cubicBezTo>
                    <a:pt x="59" y="354"/>
                    <a:pt x="56" y="351"/>
                    <a:pt x="52" y="351"/>
                  </a:cubicBezTo>
                  <a:cubicBezTo>
                    <a:pt x="14" y="351"/>
                    <a:pt x="14" y="351"/>
                    <a:pt x="14" y="351"/>
                  </a:cubicBezTo>
                  <a:cubicBezTo>
                    <a:pt x="17" y="167"/>
                    <a:pt x="166" y="18"/>
                    <a:pt x="350" y="15"/>
                  </a:cubicBezTo>
                  <a:cubicBezTo>
                    <a:pt x="350" y="53"/>
                    <a:pt x="350" y="53"/>
                    <a:pt x="350" y="53"/>
                  </a:cubicBezTo>
                  <a:cubicBezTo>
                    <a:pt x="350" y="57"/>
                    <a:pt x="353" y="60"/>
                    <a:pt x="357" y="60"/>
                  </a:cubicBezTo>
                  <a:cubicBezTo>
                    <a:pt x="360" y="60"/>
                    <a:pt x="364" y="57"/>
                    <a:pt x="364" y="53"/>
                  </a:cubicBezTo>
                  <a:cubicBezTo>
                    <a:pt x="364" y="15"/>
                    <a:pt x="364" y="15"/>
                    <a:pt x="364" y="15"/>
                  </a:cubicBezTo>
                  <a:cubicBezTo>
                    <a:pt x="547" y="18"/>
                    <a:pt x="696" y="167"/>
                    <a:pt x="699" y="351"/>
                  </a:cubicBezTo>
                  <a:cubicBezTo>
                    <a:pt x="661" y="351"/>
                    <a:pt x="661" y="351"/>
                    <a:pt x="661" y="351"/>
                  </a:cubicBezTo>
                  <a:cubicBezTo>
                    <a:pt x="657" y="351"/>
                    <a:pt x="654" y="354"/>
                    <a:pt x="654" y="358"/>
                  </a:cubicBezTo>
                  <a:cubicBezTo>
                    <a:pt x="654" y="361"/>
                    <a:pt x="657" y="365"/>
                    <a:pt x="661" y="365"/>
                  </a:cubicBezTo>
                  <a:cubicBezTo>
                    <a:pt x="699" y="365"/>
                    <a:pt x="699" y="365"/>
                    <a:pt x="699" y="365"/>
                  </a:cubicBezTo>
                  <a:cubicBezTo>
                    <a:pt x="696" y="548"/>
                    <a:pt x="547" y="697"/>
                    <a:pt x="364" y="7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6" name="Группа 125"/>
          <p:cNvGrpSpPr/>
          <p:nvPr/>
        </p:nvGrpSpPr>
        <p:grpSpPr>
          <a:xfrm>
            <a:off x="6383592" y="2330927"/>
            <a:ext cx="359605" cy="371750"/>
            <a:chOff x="132557" y="2285583"/>
            <a:chExt cx="359605" cy="335305"/>
          </a:xfrm>
        </p:grpSpPr>
        <p:sp>
          <p:nvSpPr>
            <p:cNvPr id="127" name="Овал 126">
              <a:extLst>
                <a:ext uri="{FF2B5EF4-FFF2-40B4-BE49-F238E27FC236}">
                  <a16:creationId xmlns:a16="http://schemas.microsoft.com/office/drawing/2014/main" id="{65254C21-239F-EE3D-D336-8D2B4C9077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132557" y="2285583"/>
              <a:ext cx="359605" cy="3353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dirty="0"/>
            </a:p>
          </p:txBody>
        </p:sp>
        <p:sp>
          <p:nvSpPr>
            <p:cNvPr id="128" name="Freeform 123"/>
            <p:cNvSpPr>
              <a:spLocks noEditPoints="1"/>
            </p:cNvSpPr>
            <p:nvPr/>
          </p:nvSpPr>
          <p:spPr bwMode="auto">
            <a:xfrm>
              <a:off x="172106" y="2338661"/>
              <a:ext cx="251745" cy="223589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80A0CD63-1EF0-49FE-B83E-8B0213AA8B19}"/>
              </a:ext>
            </a:extLst>
          </p:cNvPr>
          <p:cNvSpPr/>
          <p:nvPr/>
        </p:nvSpPr>
        <p:spPr>
          <a:xfrm>
            <a:off x="148239" y="150624"/>
            <a:ext cx="50291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ru-RU" altLang="en-US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ИНВЕСТИЦИОННЫЕ ПРОЕКТЫ ПНХЗ</a:t>
            </a:r>
            <a:endParaRPr lang="ru-RU" altLang="en-US" b="1" dirty="0">
              <a:solidFill>
                <a:schemeClr val="bg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21270" y="4578930"/>
            <a:ext cx="4635727" cy="2208718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1991715-5089-45F0-852B-9C6712035B60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6028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112" y="46660"/>
            <a:ext cx="2254219" cy="532060"/>
          </a:xfrm>
          <a:prstGeom prst="rect">
            <a:avLst/>
          </a:prstGeom>
        </p:spPr>
      </p:pic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204011" y="114881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АЛИЗУЕМЫЕ ПРОЕКТЫ  ПО ЦИФРОВИЗАЦИИ НА ПНХЗ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9"/>
          <p:cNvSpPr>
            <a:spLocks noChangeShapeType="1"/>
          </p:cNvSpPr>
          <p:nvPr/>
        </p:nvSpPr>
        <p:spPr bwMode="auto">
          <a:xfrm>
            <a:off x="334347" y="620688"/>
            <a:ext cx="8550820" cy="0"/>
          </a:xfrm>
          <a:prstGeom prst="line">
            <a:avLst/>
          </a:prstGeom>
          <a:noFill/>
          <a:ln w="15875" cmpd="sng">
            <a:solidFill>
              <a:srgbClr val="003399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124745" y="1034229"/>
            <a:ext cx="5792729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ЕКТ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ИФРОВИЗАЦИИ:</a:t>
            </a:r>
          </a:p>
          <a:p>
            <a:pPr algn="just"/>
            <a:r>
              <a:rPr lang="en-US" sz="14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 июне 2022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года </a:t>
            </a:r>
            <a:r>
              <a:rPr lang="ru-RU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ЗАВЕРШЕН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проект внедрения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истемы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мониторинга безопасности технологической сети АСУ ТП ТОО «ПНХЗ» на базе </a:t>
            </a:r>
            <a:r>
              <a:rPr lang="en-US" sz="1400" dirty="0">
                <a:latin typeface="Century Gothic" panose="020B0502020202020204" pitchFamily="34" charset="0"/>
                <a:cs typeface="Arial" panose="020B0604020202020204" pitchFamily="34" charset="0"/>
              </a:rPr>
              <a:t>Kaspersky Industrial </a:t>
            </a:r>
            <a:r>
              <a:rPr lang="en-US" sz="1400" dirty="0" err="1">
                <a:latin typeface="Century Gothic" panose="020B0502020202020204" pitchFamily="34" charset="0"/>
                <a:cs typeface="Arial" panose="020B0604020202020204" pitchFamily="34" charset="0"/>
              </a:rPr>
              <a:t>CyberSecurity</a:t>
            </a:r>
            <a:r>
              <a:rPr lang="en-US" sz="1400" dirty="0">
                <a:latin typeface="Century Gothic" panose="020B0502020202020204" pitchFamily="34" charset="0"/>
                <a:cs typeface="Arial" panose="020B0604020202020204" pitchFamily="34" charset="0"/>
              </a:rPr>
              <a:t> for Networks (KICS</a:t>
            </a:r>
            <a:r>
              <a:rPr lang="en-US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на сегменте сети РСУ </a:t>
            </a:r>
            <a:r>
              <a:rPr lang="en-US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Yokogawa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октябре 2022 </a:t>
            </a:r>
            <a:r>
              <a:rPr lang="ru-RU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ПЛАНИРУЕТСЯ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недрение системы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мониторинга безопасности технологической сети АСУ ТП ТОО 	«ПНХЗ» на базе </a:t>
            </a:r>
            <a:r>
              <a:rPr lang="en-US" sz="1400" dirty="0">
                <a:latin typeface="Century Gothic" panose="020B0502020202020204" pitchFamily="34" charset="0"/>
                <a:cs typeface="Arial" panose="020B0604020202020204" pitchFamily="34" charset="0"/>
              </a:rPr>
              <a:t>Kaspersky Industrial </a:t>
            </a:r>
            <a:r>
              <a:rPr lang="en-US" sz="14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CyberSecurity</a:t>
            </a:r>
            <a:r>
              <a:rPr lang="en-US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Century Gothic" panose="020B0502020202020204" pitchFamily="34" charset="0"/>
                <a:cs typeface="Arial" panose="020B0604020202020204" pitchFamily="34" charset="0"/>
              </a:rPr>
              <a:t>for Networks (KICS)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 на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егменте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сети РСУ </a:t>
            </a:r>
            <a:r>
              <a:rPr lang="en-US" sz="14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DeltaV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 algn="just">
              <a:buFont typeface="+mj-lt"/>
              <a:buAutoNum type="arabicPeriod"/>
            </a:pPr>
            <a:endParaRPr lang="ru-RU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И ПРОЕКТА</a:t>
            </a:r>
            <a:r>
              <a:rPr lang="en-US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marL="342900" indent="-342900" algn="just">
              <a:buAutoNum type="arabicPeriod"/>
            </a:pP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Обнаружение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вторжений в сеть как изнутри так и извне;</a:t>
            </a:r>
          </a:p>
          <a:p>
            <a:pPr marL="342900" indent="-342900" algn="just">
              <a:buFontTx/>
              <a:buAutoNum type="arabicPeriod"/>
            </a:pP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Осуществление проверки сетевых пакетов на содержание вредоносного ПО;</a:t>
            </a:r>
            <a:endParaRPr lang="en-US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Tx/>
              <a:buAutoNum type="arabicPeriod"/>
            </a:pP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Осуществление контроля команд отправляемых на контроллеры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РСУ.</a:t>
            </a:r>
          </a:p>
          <a:p>
            <a:pPr marL="342900" indent="-342900" algn="just">
              <a:buFontTx/>
              <a:buAutoNum type="arabicPeriod"/>
            </a:pPr>
            <a:endParaRPr lang="ru-RU" sz="1400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ЗУЛЬТАТ ВНЕДРЕНИЯ: </a:t>
            </a:r>
            <a:endParaRPr lang="en-US" sz="14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остоянный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мониторинг в реальном времени сети АСУТП на предмет </a:t>
            </a:r>
            <a:r>
              <a:rPr lang="ru-RU" sz="1400" dirty="0" err="1">
                <a:latin typeface="Century Gothic" panose="020B0502020202020204" pitchFamily="34" charset="0"/>
                <a:cs typeface="Arial" panose="020B0604020202020204" pitchFamily="34" charset="0"/>
              </a:rPr>
              <a:t>киберугроз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 и их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редотвращение.</a:t>
            </a:r>
            <a:endParaRPr lang="ru-RU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8100" y="1044596"/>
            <a:ext cx="5366684" cy="2599941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3680" y="3758805"/>
            <a:ext cx="5341104" cy="2708839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052000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197949" y="195225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ИТОГИ ПО ВНЕДРЕНИЮ ПРОГРАММЫ LEAN SIX SIGMA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8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285788" y="5918630"/>
            <a:ext cx="12971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ru-RU" sz="1200" b="1" u="sng" dirty="0">
                <a:solidFill>
                  <a:srgbClr val="FFFFFF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УТИ РЕШЕНИЯ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/>
          </p:nvPr>
        </p:nvGraphicFramePr>
        <p:xfrm>
          <a:off x="369345" y="1958726"/>
          <a:ext cx="11517856" cy="15650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175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3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42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ализация проектов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ичество начатых тем проектов - 10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ичество тем внедренных проектов – 1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08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о текущему статусу программы «</a:t>
                      </a:r>
                      <a:r>
                        <a:rPr lang="en-US" sz="1200" b="1" u="non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ean Six Sigma</a:t>
                      </a:r>
                      <a:r>
                        <a:rPr lang="ru-RU" sz="1200" b="1" u="non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121920" marR="12192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ертификация «Мастеров Черного пояса» - 1 работник. </a:t>
                      </a:r>
                      <a:endParaRPr kumimoji="0" lang="en-US" sz="120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одготовлен приказ о старте в 2022 году 5-ти проектов «Зеленых/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Черных поясов»</a:t>
                      </a:r>
                      <a:r>
                        <a:rPr kumimoji="0" lang="ru-RU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учинг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проектов «Зеленых/ Черных поясов» «Мастерами Черного пояса» – 10 тем проектов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ланируется внедрение 3-х проектов, курируемых «Мастерами Черного пояса» и сертификация 1 «Мастера Черного пояса» до 01.09.2022г.</a:t>
                      </a:r>
                    </a:p>
                  </a:txBody>
                  <a:tcPr marL="121920" marR="121920" anchor="ctr">
                    <a:lnL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60000" y="3609061"/>
            <a:ext cx="77493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О ЭФФЕКТАМ ОТ ВНЕДРЕННЫХ ПРОЕКТОВ «</a:t>
            </a:r>
            <a:r>
              <a:rPr kumimoji="0" lang="en-US" sz="1400" b="1" i="0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LEAN SIX SIGMA</a:t>
            </a:r>
            <a:r>
              <a:rPr kumimoji="0" lang="ru-RU" sz="1400" b="1" i="0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Количеств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проектов, принесших прямой экономический эффект – </a:t>
            </a:r>
            <a:r>
              <a:rPr lang="en-US" sz="1400" noProof="0" dirty="0">
                <a:latin typeface="Century Gothic" panose="020B0502020202020204" pitchFamily="34" charset="0"/>
                <a:cs typeface="Arial" panose="020B0604020202020204" pitchFamily="34" charset="0"/>
              </a:rPr>
              <a:t>7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4753" y="946117"/>
            <a:ext cx="825662" cy="836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9"/>
          <p:cNvSpPr>
            <a:spLocks noChangeArrowheads="1"/>
          </p:cNvSpPr>
          <p:nvPr/>
        </p:nvSpPr>
        <p:spPr bwMode="auto">
          <a:xfrm>
            <a:off x="360000" y="887068"/>
            <a:ext cx="7180052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>
              <a:spcBef>
                <a:spcPts val="0"/>
              </a:spcBef>
              <a:buNone/>
            </a:pPr>
            <a:r>
              <a:rPr kumimoji="0"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ТАТИСТИКА ПО УЧАСТНИКАМ ПРОГРАММЫ</a:t>
            </a:r>
          </a:p>
          <a:p>
            <a:pPr algn="just" eaLnBrk="1" hangingPunct="1">
              <a:spcBef>
                <a:spcPts val="0"/>
              </a:spcBef>
              <a:buNone/>
            </a:pPr>
            <a:r>
              <a:rPr kumimoji="0" lang="ru-RU" altLang="ru-RU" sz="1400" dirty="0" smtClean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сего «Зеленых поясов </a:t>
            </a:r>
            <a:r>
              <a:rPr kumimoji="0" lang="en-US" altLang="ru-RU" sz="1400" dirty="0" smtClean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SS</a:t>
            </a:r>
            <a:r>
              <a:rPr kumimoji="0" lang="ru-RU" altLang="ru-RU" sz="1400" dirty="0" smtClean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  <a:r>
              <a:rPr kumimoji="0" lang="en-US" altLang="ru-RU" sz="1400" dirty="0" smtClean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-</a:t>
            </a:r>
            <a:r>
              <a:rPr kumimoji="0" lang="ru-RU" altLang="ru-RU" sz="1400" dirty="0" smtClean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7</a:t>
            </a:r>
            <a:r>
              <a:rPr kumimoji="0" lang="en-US" altLang="ru-RU" sz="140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kumimoji="0" lang="kk-KZ" altLang="ru-RU" sz="1400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spcBef>
                <a:spcPts val="0"/>
              </a:spcBef>
              <a:buNone/>
            </a:pPr>
            <a:r>
              <a:rPr kumimoji="0" lang="kk-KZ" altLang="ru-RU" sz="1400" dirty="0" smtClean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сего «Мастеров Черного пояса» - </a:t>
            </a:r>
            <a:r>
              <a:rPr kumimoji="0" lang="en-US" altLang="ru-RU" sz="1400" b="1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</a:t>
            </a:r>
            <a:endParaRPr kumimoji="0" lang="kk-KZ" altLang="ru-RU" sz="1400" b="1" dirty="0" smtClean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spcBef>
                <a:spcPts val="0"/>
              </a:spcBef>
              <a:buNone/>
            </a:pPr>
            <a:r>
              <a:rPr kumimoji="0" lang="ru-RU" altLang="ru-RU" sz="1400" dirty="0" smtClean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сего «Черных </a:t>
            </a:r>
            <a:r>
              <a:rPr kumimoji="0" lang="ru-RU" altLang="ru-RU" sz="1400" dirty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ясов </a:t>
            </a:r>
            <a:r>
              <a:rPr kumimoji="0" lang="en-US" altLang="ru-RU" sz="1400" dirty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SS</a:t>
            </a:r>
            <a:r>
              <a:rPr kumimoji="0" lang="ru-RU" altLang="ru-RU" sz="1400" dirty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  <a:r>
              <a:rPr kumimoji="0" lang="en-US" altLang="ru-RU" sz="1400" dirty="0">
                <a:solidFill>
                  <a:srgbClr val="29292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- </a:t>
            </a:r>
            <a:r>
              <a:rPr kumimoji="0" lang="en-US" alt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kumimoji="0" lang="kk-KZ" altLang="ru-RU" sz="1400" b="1" dirty="0" smtClean="0">
                <a:solidFill>
                  <a:srgbClr val="0393D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	</a:t>
            </a:r>
            <a:r>
              <a:rPr kumimoji="0" lang="en-US" altLang="ru-RU" sz="1400" b="1" dirty="0" smtClean="0">
                <a:solidFill>
                  <a:srgbClr val="0393D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            </a:t>
            </a:r>
            <a:endParaRPr kumimoji="0" lang="ru-RU" altLang="ru-RU" sz="1400" b="1" dirty="0" smtClean="0">
              <a:solidFill>
                <a:srgbClr val="0393D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498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197949" y="195225"/>
            <a:ext cx="88114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РАЦИОНАЛИЗАТОРСТВО</a:t>
            </a:r>
            <a:endParaRPr lang="ru-RU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75" y="98472"/>
            <a:ext cx="2254219" cy="53206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F45421E-F73C-426F-AB8C-C2C1EA919E82}"/>
              </a:ext>
            </a:extLst>
          </p:cNvPr>
          <p:cNvSpPr txBox="1"/>
          <p:nvPr/>
        </p:nvSpPr>
        <p:spPr>
          <a:xfrm>
            <a:off x="11573061" y="6581913"/>
            <a:ext cx="61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1DC911C-37BB-4EEB-B359-9B68113A29C3}" type="slidenum">
              <a:rPr lang="ru-RU" sz="12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</a:t>
            </a:fld>
            <a:endParaRPr lang="ru-RU" sz="12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03840" y="920848"/>
            <a:ext cx="6775592" cy="61093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b="1" cap="all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cap="all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  </a:t>
            </a:r>
            <a:r>
              <a:rPr lang="ru-RU" sz="1300" b="1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 </a:t>
            </a:r>
            <a:r>
              <a:rPr lang="ru-RU" sz="1300" b="1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ая 2022 </a:t>
            </a:r>
            <a:r>
              <a:rPr lang="ru-RU" sz="1300" b="1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да </a:t>
            </a:r>
            <a:r>
              <a:rPr lang="ru-RU" sz="1300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</a:t>
            </a:r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пущена в работу новая системная платформа </a:t>
            </a:r>
            <a:r>
              <a:rPr lang="ru-RU" sz="1300" kern="0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«Банк идей» на </a:t>
            </a:r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О «ПНХЗ».</a:t>
            </a:r>
          </a:p>
          <a:p>
            <a:pPr indent="176213" algn="just"/>
            <a:r>
              <a:rPr lang="ru-RU" sz="1300" kern="0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 </a:t>
            </a:r>
            <a:r>
              <a:rPr lang="ru-RU" sz="1300" kern="0" dirty="0">
                <a:latin typeface="Century Gothic" panose="020B0502020202020204" pitchFamily="34" charset="0"/>
                <a:cs typeface="Arial" panose="020B0604020202020204" pitchFamily="34" charset="0"/>
              </a:rPr>
              <a:t>системной платформе «</a:t>
            </a:r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Банка идей» </a:t>
            </a:r>
            <a:r>
              <a:rPr lang="ru-RU" sz="1300" b="1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зарегистрированы </a:t>
            </a:r>
            <a:br>
              <a:rPr lang="ru-RU" sz="1300" b="1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300" b="1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73 пользователя </a:t>
            </a:r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 качестве </a:t>
            </a:r>
            <a:r>
              <a:rPr lang="ru-RU" sz="1300" kern="0" dirty="0">
                <a:latin typeface="Century Gothic" panose="020B0502020202020204" pitchFamily="34" charset="0"/>
                <a:cs typeface="Arial" panose="020B0604020202020204" pitchFamily="34" charset="0"/>
              </a:rPr>
              <a:t>администратора/экспертов/членов инновационного </a:t>
            </a:r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комитета.</a:t>
            </a:r>
          </a:p>
          <a:p>
            <a:pPr indent="176213" algn="just"/>
            <a:endParaRPr lang="ru-RU" sz="1300" b="1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indent="176213" algn="just"/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Утвержден </a:t>
            </a:r>
            <a:r>
              <a:rPr lang="ru-RU" sz="1300" kern="0" dirty="0">
                <a:latin typeface="Century Gothic" panose="020B0502020202020204" pitchFamily="34" charset="0"/>
                <a:cs typeface="Arial" panose="020B0604020202020204" pitchFamily="34" charset="0"/>
              </a:rPr>
              <a:t>перечень производственных задач НПЗ на 2022-2026 гг. – </a:t>
            </a:r>
            <a:r>
              <a:rPr lang="ru-RU" sz="13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отображен в системной платформе «Банк идей</a:t>
            </a:r>
            <a:r>
              <a:rPr lang="ru-RU" sz="1300" b="1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.</a:t>
            </a:r>
          </a:p>
          <a:p>
            <a:pPr indent="176213" algn="just"/>
            <a:r>
              <a:rPr lang="ru-RU" sz="1300" b="1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ru-RU" sz="1300" b="1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indent="176213" algn="just"/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Ведется ежемесячный </a:t>
            </a:r>
            <a:r>
              <a:rPr lang="ru-RU" sz="1300" kern="0" dirty="0">
                <a:latin typeface="Century Gothic" panose="020B0502020202020204" pitchFamily="34" charset="0"/>
                <a:cs typeface="Arial" panose="020B0604020202020204" pitchFamily="34" charset="0"/>
              </a:rPr>
              <a:t>отчет рассмотренных и внедрённых идей и рац. предложений </a:t>
            </a:r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администратором ТОО «ПНХЗ» - ведущим инженером-технологом технического отдела  </a:t>
            </a:r>
            <a:r>
              <a:rPr lang="ru-RU" sz="1300" kern="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Сатыбалдиным</a:t>
            </a:r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kern="0" dirty="0">
                <a:latin typeface="Century Gothic" panose="020B0502020202020204" pitchFamily="34" charset="0"/>
                <a:cs typeface="Arial" panose="020B0604020202020204" pitchFamily="34" charset="0"/>
              </a:rPr>
              <a:t>А.Д. </a:t>
            </a:r>
          </a:p>
          <a:p>
            <a:pPr indent="176213" algn="just"/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ланируется утверждение </a:t>
            </a:r>
            <a:r>
              <a:rPr lang="ru-RU" sz="1300" kern="0" dirty="0">
                <a:latin typeface="Century Gothic" panose="020B0502020202020204" pitchFamily="34" charset="0"/>
                <a:cs typeface="Arial" panose="020B0604020202020204" pitchFamily="34" charset="0"/>
              </a:rPr>
              <a:t>новой редакции Положения </a:t>
            </a:r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/>
            </a:r>
            <a:b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300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о </a:t>
            </a:r>
            <a:r>
              <a:rPr lang="ru-RU" sz="1300" kern="0" dirty="0">
                <a:latin typeface="Century Gothic" panose="020B0502020202020204" pitchFamily="34" charset="0"/>
                <a:cs typeface="Arial" panose="020B0604020202020204" pitchFamily="34" charset="0"/>
              </a:rPr>
              <a:t>рационализаторской деятельности - </a:t>
            </a:r>
            <a:r>
              <a:rPr lang="ru-RU" sz="1300" b="1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на </a:t>
            </a:r>
            <a:r>
              <a:rPr lang="ru-RU" sz="1300" b="1" kern="0" dirty="0">
                <a:latin typeface="Century Gothic" panose="020B0502020202020204" pitchFamily="34" charset="0"/>
                <a:cs typeface="Arial" panose="020B0604020202020204" pitchFamily="34" charset="0"/>
              </a:rPr>
              <a:t>уровне КМГ и ПНХЗ </a:t>
            </a:r>
            <a:r>
              <a:rPr lang="ru-RU" sz="1300" b="1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/>
            </a:r>
            <a:br>
              <a:rPr lang="ru-RU" sz="1300" b="1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300" b="1" kern="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до 01.09.2022 года.</a:t>
            </a:r>
            <a:endParaRPr lang="ru-RU" sz="1300" b="1" kern="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7800" algn="just"/>
            <a:endParaRPr lang="kk-KZ" sz="1300" b="1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7800" algn="just"/>
            <a:r>
              <a:rPr lang="kk-KZ" sz="13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о рационализаторским предложениям в 2022 году:</a:t>
            </a:r>
          </a:p>
          <a:p>
            <a:pPr marL="177800" algn="just"/>
            <a:r>
              <a:rPr lang="ru-RU" sz="1300" i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►</a:t>
            </a:r>
            <a:r>
              <a:rPr lang="ru-RU" sz="13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Отобраны и </a:t>
            </a:r>
            <a:r>
              <a:rPr lang="ru-RU" sz="1300" dirty="0">
                <a:latin typeface="Century Gothic" panose="020B0502020202020204" pitchFamily="34" charset="0"/>
                <a:cs typeface="Arial" panose="020B0604020202020204" pitchFamily="34" charset="0"/>
              </a:rPr>
              <a:t>зарегистрированы в Банке Идей – </a:t>
            </a:r>
            <a:r>
              <a:rPr lang="ru-RU" sz="13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6 </a:t>
            </a:r>
            <a:r>
              <a:rPr lang="ru-RU" sz="1300" b="1" dirty="0">
                <a:latin typeface="Century Gothic" panose="020B0502020202020204" pitchFamily="34" charset="0"/>
                <a:cs typeface="Arial" panose="020B0604020202020204" pitchFamily="34" charset="0"/>
              </a:rPr>
              <a:t>тем.</a:t>
            </a:r>
          </a:p>
          <a:p>
            <a:pPr marL="177800" algn="just"/>
            <a:r>
              <a:rPr lang="ru-RU" sz="13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300" i="1" dirty="0">
                <a:latin typeface="Century Gothic" panose="020B0502020202020204" pitchFamily="34" charset="0"/>
                <a:cs typeface="Arial" panose="020B0604020202020204" pitchFamily="34" charset="0"/>
              </a:rPr>
              <a:t>►</a:t>
            </a:r>
            <a:r>
              <a:rPr lang="ru-RU" sz="1300" dirty="0">
                <a:latin typeface="Century Gothic" panose="020B0502020202020204" pitchFamily="34" charset="0"/>
                <a:cs typeface="Arial" panose="020B0604020202020204" pitchFamily="34" charset="0"/>
              </a:rPr>
              <a:t> Подготовлены к рассмотрению </a:t>
            </a:r>
            <a:r>
              <a:rPr lang="ru-RU" sz="13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экспертами </a:t>
            </a:r>
            <a:r>
              <a:rPr lang="ru-RU" sz="1300" dirty="0">
                <a:latin typeface="Century Gothic" panose="020B0502020202020204" pitchFamily="34" charset="0"/>
                <a:cs typeface="Arial" panose="020B0604020202020204" pitchFamily="34" charset="0"/>
              </a:rPr>
              <a:t>Инновационного комитета </a:t>
            </a:r>
            <a:r>
              <a:rPr lang="ru-RU" sz="1300" b="1" dirty="0">
                <a:latin typeface="Century Gothic" panose="020B0502020202020204" pitchFamily="34" charset="0"/>
                <a:cs typeface="Arial" panose="020B0604020202020204" pitchFamily="34" charset="0"/>
              </a:rPr>
              <a:t>- </a:t>
            </a:r>
            <a:r>
              <a:rPr lang="ru-RU" sz="13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6 тем</a:t>
            </a:r>
          </a:p>
          <a:p>
            <a:pPr marL="177800" algn="just"/>
            <a:r>
              <a:rPr lang="ru-RU" sz="1300" i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►</a:t>
            </a:r>
            <a:r>
              <a:rPr lang="ru-RU" sz="13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На рассмотрении у Администратора платформы от ТОО «ПНХЗ» </a:t>
            </a:r>
            <a:r>
              <a:rPr lang="ru-RU" sz="13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- </a:t>
            </a:r>
            <a:br>
              <a:rPr lang="ru-RU" sz="13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lang="ru-RU" sz="13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1 тема</a:t>
            </a:r>
            <a:endParaRPr lang="kk-KZ" sz="13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7800" algn="just"/>
            <a:endParaRPr lang="ru-RU" sz="1300" b="1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77800" algn="just"/>
            <a:r>
              <a:rPr lang="ru-RU" sz="1300" i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В августе 2022 года планируется рассмотрение на заседании «Инновационного комитета» </a:t>
            </a:r>
            <a:r>
              <a:rPr lang="ru-RU" sz="1300" b="1" dirty="0" smtClean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17 тем.</a:t>
            </a:r>
          </a:p>
          <a:p>
            <a:pPr marL="177800" algn="just"/>
            <a:endParaRPr lang="ru-RU" sz="1300" b="1" dirty="0" smtClean="0"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7800" algn="just"/>
            <a:r>
              <a:rPr lang="ru-RU" sz="1300" b="1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недрение </a:t>
            </a:r>
            <a:r>
              <a:rPr lang="ru-RU" sz="1300" b="1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а идей позволяет сделать процесс согласования заявки более прозрачным, и позволит отслеживать автору идеи этапы ее согласования.</a:t>
            </a:r>
          </a:p>
          <a:p>
            <a:pPr marL="177800" algn="just"/>
            <a:endParaRPr lang="ru-RU" sz="1300" b="1" dirty="0" smtClean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3"/>
          <a:srcRect l="50269" t="5806" r="5699" b="4129"/>
          <a:stretch/>
        </p:blipFill>
        <p:spPr>
          <a:xfrm>
            <a:off x="152915" y="3627099"/>
            <a:ext cx="4450779" cy="2954814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965D95D-3EC8-4071-8ACA-A5FD37CCFE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504" y="920848"/>
            <a:ext cx="4536504" cy="2583862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67" t="13004" r="16690" b="8246"/>
          <a:stretch/>
        </p:blipFill>
        <p:spPr>
          <a:xfrm>
            <a:off x="3242211" y="920848"/>
            <a:ext cx="1401797" cy="1690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470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618</TotalTime>
  <Words>5464</Words>
  <Application>Microsoft Office PowerPoint</Application>
  <PresentationFormat>Широкоэкранный</PresentationFormat>
  <Paragraphs>1266</Paragraphs>
  <Slides>3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43" baseType="lpstr">
      <vt:lpstr>Arial</vt:lpstr>
      <vt:lpstr>Calibri</vt:lpstr>
      <vt:lpstr>Calibri Light</vt:lpstr>
      <vt:lpstr>Century Gothic</vt:lpstr>
      <vt:lpstr>Segoe UI</vt:lpstr>
      <vt:lpstr>Tahoma</vt:lpstr>
      <vt:lpstr>Times New Roman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зюра Ольга Викторовна</dc:creator>
  <cp:lastModifiedBy>Ангоноева Айгуль Сембаевна</cp:lastModifiedBy>
  <cp:revision>198</cp:revision>
  <dcterms:created xsi:type="dcterms:W3CDTF">2022-08-12T02:43:43Z</dcterms:created>
  <dcterms:modified xsi:type="dcterms:W3CDTF">2022-09-01T08:03:19Z</dcterms:modified>
</cp:coreProperties>
</file>